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png" ContentType="image/png"/>
  <Default Extension="rels" ContentType="application/vnd.openxmlformats-package.relationships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ags/tag4.xml" ContentType="application/vnd.openxmlformats-officedocument.presentationml.tags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tags/tag9.xml" ContentType="application/vnd.openxmlformats-officedocument.presentationml.tags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  <Override PartName="/docMetadata/LabelInfo.xml" ContentType="application/vnd.ms-office.classificationlabel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6" Type="http://schemas.microsoft.com/office/2020/02/relationships/classificationlabels" Target="docMetadata/LabelInfo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75" r:id="rId4"/>
  </p:sldMasterIdLst>
  <p:notesMasterIdLst>
    <p:notesMasterId r:id="rId7"/>
  </p:notesMasterIdLst>
  <p:handoutMasterIdLst>
    <p:handoutMasterId r:id="rId8"/>
  </p:handoutMasterIdLst>
  <p:sldIdLst>
    <p:sldId id="2147374729" r:id="rId5"/>
    <p:sldId id="2147374727" r:id="rId6"/>
  </p:sldIdLst>
  <p:sldSz cx="12192000" cy="6858000"/>
  <p:notesSz cx="9601200" cy="7315200"/>
  <p:custDataLst>
    <p:tags r:id="rId9"/>
  </p:custDataLst>
  <p:defaultTextStyle>
    <a:defPPr>
      <a:defRPr lang="en-US"/>
    </a:defPPr>
    <a:lvl1pPr marL="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4572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160" userDrawn="1">
          <p15:clr>
            <a:srgbClr val="A4A3A4"/>
          </p15:clr>
        </p15:guide>
        <p15:guide id="2" pos="3840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FFD966"/>
    <a:srgbClr val="FCD5B5"/>
    <a:srgbClr val="D9E1F2"/>
    <a:srgbClr val="BDAA6C"/>
    <a:srgbClr val="595959"/>
    <a:srgbClr val="FFC409"/>
    <a:srgbClr val="FFFFFF"/>
    <a:srgbClr val="4F81BD"/>
    <a:srgbClr val="FFC000"/>
    <a:srgbClr val="92B1D6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E8E9EEE1-CE0B-4476-8BC1-775B0E5967C8}" v="8" dt="2024-01-29T23:18:07.347"/>
  </p1510:revLst>
</p1510:revInfo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Estilo medio 2 - Énfasis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 horzBarState="maximized">
    <p:restoredLeft sz="15000" autoAdjust="0"/>
    <p:restoredTop sz="95380" autoAdjust="0"/>
  </p:normalViewPr>
  <p:slideViewPr>
    <p:cSldViewPr snapToGrid="0">
      <p:cViewPr varScale="1">
        <p:scale>
          <a:sx n="78" d="100"/>
          <a:sy n="78" d="100"/>
        </p:scale>
        <p:origin x="220" y="64"/>
      </p:cViewPr>
      <p:guideLst>
        <p:guide orient="horz" pos="2160"/>
        <p:guide pos="3840"/>
      </p:guideLst>
    </p:cSldViewPr>
  </p:slideViewPr>
  <p:outlineViewPr>
    <p:cViewPr>
      <p:scale>
        <a:sx n="33" d="100"/>
        <a:sy n="33" d="100"/>
      </p:scale>
      <p:origin x="0" y="0"/>
    </p:cViewPr>
  </p:outlineViewPr>
  <p:notesTextViewPr>
    <p:cViewPr>
      <p:scale>
        <a:sx n="1" d="1"/>
        <a:sy n="1" d="1"/>
      </p:scale>
      <p:origin x="0" y="0"/>
    </p:cViewPr>
  </p:notesTextViewPr>
  <p:sorterViewPr>
    <p:cViewPr>
      <p:scale>
        <a:sx n="66" d="100"/>
        <a:sy n="66" d="100"/>
      </p:scale>
      <p:origin x="0" y="0"/>
    </p:cViewPr>
  </p:sorterViewPr>
  <p:notesViewPr>
    <p:cSldViewPr snapToGrid="0">
      <p:cViewPr varScale="1">
        <p:scale>
          <a:sx n="69" d="100"/>
          <a:sy n="69" d="100"/>
        </p:scale>
        <p:origin x="1986" y="66"/>
      </p:cViewPr>
      <p:guideLst/>
    </p:cSldViewPr>
  </p:notes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handoutMaster" Target="handoutMasters/handoutMaster1.xml"/><Relationship Id="rId13" Type="http://schemas.openxmlformats.org/officeDocument/2006/relationships/tableStyles" Target="tableStyles.xml"/><Relationship Id="rId3" Type="http://schemas.openxmlformats.org/officeDocument/2006/relationships/customXml" Target="../customXml/item3.xml"/><Relationship Id="rId7" Type="http://schemas.openxmlformats.org/officeDocument/2006/relationships/notesMaster" Target="notesMasters/notesMaster1.xml"/><Relationship Id="rId12" Type="http://schemas.openxmlformats.org/officeDocument/2006/relationships/theme" Target="theme/theme1.xml"/><Relationship Id="rId2" Type="http://schemas.openxmlformats.org/officeDocument/2006/relationships/customXml" Target="../customXml/item2.xml"/><Relationship Id="rId1" Type="http://schemas.openxmlformats.org/officeDocument/2006/relationships/customXml" Target="../customXml/item1.xml"/><Relationship Id="rId6" Type="http://schemas.openxmlformats.org/officeDocument/2006/relationships/slide" Target="slides/slide2.xml"/><Relationship Id="rId11" Type="http://schemas.openxmlformats.org/officeDocument/2006/relationships/viewProps" Target="viewProps.xml"/><Relationship Id="rId5" Type="http://schemas.openxmlformats.org/officeDocument/2006/relationships/slide" Target="slides/slide1.xml"/><Relationship Id="rId15" Type="http://schemas.microsoft.com/office/2015/10/relationships/revisionInfo" Target="revisionInfo.xml"/><Relationship Id="rId10" Type="http://schemas.openxmlformats.org/officeDocument/2006/relationships/presProps" Target="presProps.xml"/><Relationship Id="rId4" Type="http://schemas.openxmlformats.org/officeDocument/2006/relationships/slideMaster" Target="slideMasters/slideMaster1.xml"/><Relationship Id="rId9" Type="http://schemas.openxmlformats.org/officeDocument/2006/relationships/tags" Target="tags/tag1.xml"/><Relationship Id="rId14" Type="http://schemas.microsoft.com/office/2016/11/relationships/changesInfo" Target="changesInfos/changesInfo1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andres rendo sanchez" userId="1d3ea28edc38020e" providerId="LiveId" clId="{040D5DD8-63C5-4430-AF4F-55BE80373FFF}"/>
    <pc:docChg chg="undo custSel addSld delSld modSld sldOrd">
      <pc:chgData name="andres rendo sanchez" userId="1d3ea28edc38020e" providerId="LiveId" clId="{040D5DD8-63C5-4430-AF4F-55BE80373FFF}" dt="2023-09-26T22:58:23.848" v="2049" actId="47"/>
      <pc:docMkLst>
        <pc:docMk/>
      </pc:docMkLst>
      <pc:sldChg chg="addSp delSp modSp mod">
        <pc:chgData name="andres rendo sanchez" userId="1d3ea28edc38020e" providerId="LiveId" clId="{040D5DD8-63C5-4430-AF4F-55BE80373FFF}" dt="2023-09-25T21:41:06.351" v="2009" actId="207"/>
        <pc:sldMkLst>
          <pc:docMk/>
          <pc:sldMk cId="2092716802" sldId="256"/>
        </pc:sldMkLst>
        <pc:spChg chg="add mod">
          <ac:chgData name="andres rendo sanchez" userId="1d3ea28edc38020e" providerId="LiveId" clId="{040D5DD8-63C5-4430-AF4F-55BE80373FFF}" dt="2023-09-25T21:41:06.351" v="2009" actId="207"/>
          <ac:spMkLst>
            <pc:docMk/>
            <pc:sldMk cId="2092716802" sldId="256"/>
            <ac:spMk id="3" creationId="{B4A4AE5C-145B-6C48-6532-072C6DF03590}"/>
          </ac:spMkLst>
        </pc:spChg>
        <pc:spChg chg="del mod">
          <ac:chgData name="andres rendo sanchez" userId="1d3ea28edc38020e" providerId="LiveId" clId="{040D5DD8-63C5-4430-AF4F-55BE80373FFF}" dt="2023-09-25T21:39:51.978" v="1981" actId="21"/>
          <ac:spMkLst>
            <pc:docMk/>
            <pc:sldMk cId="2092716802" sldId="256"/>
            <ac:spMk id="10" creationId="{C54F292C-FA9D-404E-A077-35F8B4C9A28E}"/>
          </ac:spMkLst>
        </pc:spChg>
      </pc:sldChg>
      <pc:sldChg chg="addSp delSp modSp add del mod ord">
        <pc:chgData name="andres rendo sanchez" userId="1d3ea28edc38020e" providerId="LiveId" clId="{040D5DD8-63C5-4430-AF4F-55BE80373FFF}" dt="2023-09-26T22:58:23.848" v="2049" actId="47"/>
        <pc:sldMkLst>
          <pc:docMk/>
          <pc:sldMk cId="1123468149" sldId="2147374729"/>
        </pc:sldMkLst>
        <pc:spChg chg="del">
          <ac:chgData name="andres rendo sanchez" userId="1d3ea28edc38020e" providerId="LiveId" clId="{040D5DD8-63C5-4430-AF4F-55BE80373FFF}" dt="2023-09-25T20:54:27.321" v="117" actId="21"/>
          <ac:spMkLst>
            <pc:docMk/>
            <pc:sldMk cId="1123468149" sldId="2147374729"/>
            <ac:spMk id="2" creationId="{FD222F95-49A5-1E2A-E5D4-27C0A085E0CB}"/>
          </ac:spMkLst>
        </pc:spChg>
        <pc:spChg chg="mod">
          <ac:chgData name="andres rendo sanchez" userId="1d3ea28edc38020e" providerId="LiveId" clId="{040D5DD8-63C5-4430-AF4F-55BE80373FFF}" dt="2023-09-25T21:28:18.127" v="1659" actId="1076"/>
          <ac:spMkLst>
            <pc:docMk/>
            <pc:sldMk cId="1123468149" sldId="2147374729"/>
            <ac:spMk id="3" creationId="{51D50377-F011-FDB7-7176-6046CE16E07D}"/>
          </ac:spMkLst>
        </pc:spChg>
        <pc:spChg chg="del">
          <ac:chgData name="andres rendo sanchez" userId="1d3ea28edc38020e" providerId="LiveId" clId="{040D5DD8-63C5-4430-AF4F-55BE80373FFF}" dt="2023-09-25T20:53:43.981" v="54" actId="21"/>
          <ac:spMkLst>
            <pc:docMk/>
            <pc:sldMk cId="1123468149" sldId="2147374729"/>
            <ac:spMk id="4" creationId="{043D9AEF-F419-15C3-E8F8-F447E48B741A}"/>
          </ac:spMkLst>
        </pc:spChg>
        <pc:spChg chg="del">
          <ac:chgData name="andres rendo sanchez" userId="1d3ea28edc38020e" providerId="LiveId" clId="{040D5DD8-63C5-4430-AF4F-55BE80373FFF}" dt="2023-09-25T20:51:56.371" v="19" actId="21"/>
          <ac:spMkLst>
            <pc:docMk/>
            <pc:sldMk cId="1123468149" sldId="2147374729"/>
            <ac:spMk id="6" creationId="{B6AD8DD2-CA7C-3F99-8BBF-C779E2840899}"/>
          </ac:spMkLst>
        </pc:spChg>
        <pc:spChg chg="mod">
          <ac:chgData name="andres rendo sanchez" userId="1d3ea28edc38020e" providerId="LiveId" clId="{040D5DD8-63C5-4430-AF4F-55BE80373FFF}" dt="2023-09-25T21:28:20.931" v="1660" actId="1076"/>
          <ac:spMkLst>
            <pc:docMk/>
            <pc:sldMk cId="1123468149" sldId="2147374729"/>
            <ac:spMk id="7" creationId="{B69E117F-E267-0A42-AA48-F72FF410E95E}"/>
          </ac:spMkLst>
        </pc:spChg>
        <pc:spChg chg="mod">
          <ac:chgData name="andres rendo sanchez" userId="1d3ea28edc38020e" providerId="LiveId" clId="{040D5DD8-63C5-4430-AF4F-55BE80373FFF}" dt="2023-09-25T21:28:31.116" v="1665" actId="20577"/>
          <ac:spMkLst>
            <pc:docMk/>
            <pc:sldMk cId="1123468149" sldId="2147374729"/>
            <ac:spMk id="9" creationId="{B795B668-A070-7A40-155C-12875AACE89C}"/>
          </ac:spMkLst>
        </pc:spChg>
        <pc:spChg chg="del">
          <ac:chgData name="andres rendo sanchez" userId="1d3ea28edc38020e" providerId="LiveId" clId="{040D5DD8-63C5-4430-AF4F-55BE80373FFF}" dt="2023-09-25T20:54:22.337" v="115" actId="21"/>
          <ac:spMkLst>
            <pc:docMk/>
            <pc:sldMk cId="1123468149" sldId="2147374729"/>
            <ac:spMk id="11" creationId="{9F80BE57-06F9-4952-67DF-DF1372B49BC4}"/>
          </ac:spMkLst>
        </pc:spChg>
        <pc:spChg chg="mod">
          <ac:chgData name="andres rendo sanchez" userId="1d3ea28edc38020e" providerId="LiveId" clId="{040D5DD8-63C5-4430-AF4F-55BE80373FFF}" dt="2023-09-25T21:42:32.457" v="2046" actId="115"/>
          <ac:spMkLst>
            <pc:docMk/>
            <pc:sldMk cId="1123468149" sldId="2147374729"/>
            <ac:spMk id="12" creationId="{AD8FC687-59CE-7621-F438-675C074BBDE6}"/>
          </ac:spMkLst>
        </pc:spChg>
        <pc:spChg chg="del">
          <ac:chgData name="andres rendo sanchez" userId="1d3ea28edc38020e" providerId="LiveId" clId="{040D5DD8-63C5-4430-AF4F-55BE80373FFF}" dt="2023-09-25T20:54:24.784" v="116" actId="21"/>
          <ac:spMkLst>
            <pc:docMk/>
            <pc:sldMk cId="1123468149" sldId="2147374729"/>
            <ac:spMk id="13" creationId="{14B4B9C3-5044-BAC2-48FA-14CAC75F2DF3}"/>
          </ac:spMkLst>
        </pc:spChg>
        <pc:spChg chg="mod">
          <ac:chgData name="andres rendo sanchez" userId="1d3ea28edc38020e" providerId="LiveId" clId="{040D5DD8-63C5-4430-AF4F-55BE80373FFF}" dt="2023-09-25T21:28:10.584" v="1657" actId="1076"/>
          <ac:spMkLst>
            <pc:docMk/>
            <pc:sldMk cId="1123468149" sldId="2147374729"/>
            <ac:spMk id="21" creationId="{5707C82D-954C-5359-F70E-670D74E641F4}"/>
          </ac:spMkLst>
        </pc:spChg>
        <pc:spChg chg="mod">
          <ac:chgData name="andres rendo sanchez" userId="1d3ea28edc38020e" providerId="LiveId" clId="{040D5DD8-63C5-4430-AF4F-55BE80373FFF}" dt="2023-09-25T21:31:20.312" v="1680" actId="1076"/>
          <ac:spMkLst>
            <pc:docMk/>
            <pc:sldMk cId="1123468149" sldId="2147374729"/>
            <ac:spMk id="23" creationId="{D2032B16-0B9F-5E6C-E91E-7509D7081F60}"/>
          </ac:spMkLst>
        </pc:spChg>
        <pc:spChg chg="del mod">
          <ac:chgData name="andres rendo sanchez" userId="1d3ea28edc38020e" providerId="LiveId" clId="{040D5DD8-63C5-4430-AF4F-55BE80373FFF}" dt="2023-09-25T20:51:18.312" v="12" actId="21"/>
          <ac:spMkLst>
            <pc:docMk/>
            <pc:sldMk cId="1123468149" sldId="2147374729"/>
            <ac:spMk id="25" creationId="{B65C7401-E634-CDDF-AFF6-FBEB6F31DF4E}"/>
          </ac:spMkLst>
        </pc:spChg>
        <pc:spChg chg="del">
          <ac:chgData name="andres rendo sanchez" userId="1d3ea28edc38020e" providerId="LiveId" clId="{040D5DD8-63C5-4430-AF4F-55BE80373FFF}" dt="2023-09-25T20:51:53.454" v="18" actId="21"/>
          <ac:spMkLst>
            <pc:docMk/>
            <pc:sldMk cId="1123468149" sldId="2147374729"/>
            <ac:spMk id="26" creationId="{289C7A8D-C47C-F5B1-FA0D-B4E37A4F0894}"/>
          </ac:spMkLst>
        </pc:spChg>
        <pc:spChg chg="add del mod">
          <ac:chgData name="andres rendo sanchez" userId="1d3ea28edc38020e" providerId="LiveId" clId="{040D5DD8-63C5-4430-AF4F-55BE80373FFF}" dt="2023-09-25T21:06:38.831" v="756" actId="21"/>
          <ac:spMkLst>
            <pc:docMk/>
            <pc:sldMk cId="1123468149" sldId="2147374729"/>
            <ac:spMk id="29" creationId="{2B096A76-42E4-B043-0AAD-647CE231B9A9}"/>
          </ac:spMkLst>
        </pc:spChg>
        <pc:spChg chg="mod">
          <ac:chgData name="andres rendo sanchez" userId="1d3ea28edc38020e" providerId="LiveId" clId="{040D5DD8-63C5-4430-AF4F-55BE80373FFF}" dt="2023-09-25T21:29:57.156" v="1674" actId="20577"/>
          <ac:spMkLst>
            <pc:docMk/>
            <pc:sldMk cId="1123468149" sldId="2147374729"/>
            <ac:spMk id="31" creationId="{31D7402C-B487-04CA-7BFF-206C2FB094FC}"/>
          </ac:spMkLst>
        </pc:spChg>
        <pc:spChg chg="add del mod">
          <ac:chgData name="andres rendo sanchez" userId="1d3ea28edc38020e" providerId="LiveId" clId="{040D5DD8-63C5-4430-AF4F-55BE80373FFF}" dt="2023-09-25T21:06:41.677" v="757" actId="21"/>
          <ac:spMkLst>
            <pc:docMk/>
            <pc:sldMk cId="1123468149" sldId="2147374729"/>
            <ac:spMk id="32" creationId="{7EE6A530-4DFB-455E-55B6-AF298BA3C832}"/>
          </ac:spMkLst>
        </pc:spChg>
        <pc:spChg chg="add mod">
          <ac:chgData name="andres rendo sanchez" userId="1d3ea28edc38020e" providerId="LiveId" clId="{040D5DD8-63C5-4430-AF4F-55BE80373FFF}" dt="2023-09-25T21:28:51.931" v="1669" actId="20577"/>
          <ac:spMkLst>
            <pc:docMk/>
            <pc:sldMk cId="1123468149" sldId="2147374729"/>
            <ac:spMk id="33" creationId="{B370CD6F-3E9A-4A9A-8A43-97EB48407CC1}"/>
          </ac:spMkLst>
        </pc:spChg>
        <pc:spChg chg="mod">
          <ac:chgData name="andres rendo sanchez" userId="1d3ea28edc38020e" providerId="LiveId" clId="{040D5DD8-63C5-4430-AF4F-55BE80373FFF}" dt="2023-09-25T20:51:38.265" v="13" actId="6549"/>
          <ac:spMkLst>
            <pc:docMk/>
            <pc:sldMk cId="1123468149" sldId="2147374729"/>
            <ac:spMk id="38" creationId="{C125520A-D066-DB03-581F-B7365D8C2C1A}"/>
          </ac:spMkLst>
        </pc:spChg>
        <pc:spChg chg="del">
          <ac:chgData name="andres rendo sanchez" userId="1d3ea28edc38020e" providerId="LiveId" clId="{040D5DD8-63C5-4430-AF4F-55BE80373FFF}" dt="2023-09-25T20:50:53.316" v="1" actId="478"/>
          <ac:spMkLst>
            <pc:docMk/>
            <pc:sldMk cId="1123468149" sldId="2147374729"/>
            <ac:spMk id="40" creationId="{5922E5D6-6C51-338C-A575-3B7B0CB3313B}"/>
          </ac:spMkLst>
        </pc:spChg>
        <pc:spChg chg="del mod">
          <ac:chgData name="andres rendo sanchez" userId="1d3ea28edc38020e" providerId="LiveId" clId="{040D5DD8-63C5-4430-AF4F-55BE80373FFF}" dt="2023-09-25T20:50:57.402" v="4" actId="21"/>
          <ac:spMkLst>
            <pc:docMk/>
            <pc:sldMk cId="1123468149" sldId="2147374729"/>
            <ac:spMk id="41" creationId="{9A387098-6C4F-E103-2844-287FF0100856}"/>
          </ac:spMkLst>
        </pc:spChg>
        <pc:spChg chg="del">
          <ac:chgData name="andres rendo sanchez" userId="1d3ea28edc38020e" providerId="LiveId" clId="{040D5DD8-63C5-4430-AF4F-55BE80373FFF}" dt="2023-09-25T20:51:00.184" v="5" actId="21"/>
          <ac:spMkLst>
            <pc:docMk/>
            <pc:sldMk cId="1123468149" sldId="2147374729"/>
            <ac:spMk id="42" creationId="{EF9C93A7-2367-5487-BE3E-EDF0FFD36B57}"/>
          </ac:spMkLst>
        </pc:spChg>
        <pc:spChg chg="del mod">
          <ac:chgData name="andres rendo sanchez" userId="1d3ea28edc38020e" providerId="LiveId" clId="{040D5DD8-63C5-4430-AF4F-55BE80373FFF}" dt="2023-09-25T20:51:09.717" v="9" actId="21"/>
          <ac:spMkLst>
            <pc:docMk/>
            <pc:sldMk cId="1123468149" sldId="2147374729"/>
            <ac:spMk id="43" creationId="{BAE97B63-A5A3-F323-E7EB-0B101B04CAF4}"/>
          </ac:spMkLst>
        </pc:spChg>
        <pc:spChg chg="del">
          <ac:chgData name="andres rendo sanchez" userId="1d3ea28edc38020e" providerId="LiveId" clId="{040D5DD8-63C5-4430-AF4F-55BE80373FFF}" dt="2023-09-25T20:51:45.274" v="15" actId="21"/>
          <ac:spMkLst>
            <pc:docMk/>
            <pc:sldMk cId="1123468149" sldId="2147374729"/>
            <ac:spMk id="53" creationId="{7A25F110-E18F-83B2-4E05-13B7168C3CB9}"/>
          </ac:spMkLst>
        </pc:spChg>
        <pc:spChg chg="del">
          <ac:chgData name="andres rendo sanchez" userId="1d3ea28edc38020e" providerId="LiveId" clId="{040D5DD8-63C5-4430-AF4F-55BE80373FFF}" dt="2023-09-25T20:51:47.867" v="16" actId="21"/>
          <ac:spMkLst>
            <pc:docMk/>
            <pc:sldMk cId="1123468149" sldId="2147374729"/>
            <ac:spMk id="54" creationId="{AAEC3362-A4F5-EC7A-A0C1-6B23927744BA}"/>
          </ac:spMkLst>
        </pc:spChg>
        <pc:spChg chg="del topLvl">
          <ac:chgData name="andres rendo sanchez" userId="1d3ea28edc38020e" providerId="LiveId" clId="{040D5DD8-63C5-4430-AF4F-55BE80373FFF}" dt="2023-09-25T20:51:59.424" v="20" actId="21"/>
          <ac:spMkLst>
            <pc:docMk/>
            <pc:sldMk cId="1123468149" sldId="2147374729"/>
            <ac:spMk id="55" creationId="{699E58EA-CC86-75F9-F044-767F8D08368E}"/>
          </ac:spMkLst>
        </pc:spChg>
        <pc:spChg chg="del">
          <ac:chgData name="andres rendo sanchez" userId="1d3ea28edc38020e" providerId="LiveId" clId="{040D5DD8-63C5-4430-AF4F-55BE80373FFF}" dt="2023-09-25T20:51:12.995" v="10" actId="21"/>
          <ac:spMkLst>
            <pc:docMk/>
            <pc:sldMk cId="1123468149" sldId="2147374729"/>
            <ac:spMk id="63" creationId="{DBEF5636-F9B6-A85C-CA3F-09C869ACF27F}"/>
          </ac:spMkLst>
        </pc:spChg>
        <pc:spChg chg="del topLvl">
          <ac:chgData name="andres rendo sanchez" userId="1d3ea28edc38020e" providerId="LiveId" clId="{040D5DD8-63C5-4430-AF4F-55BE80373FFF}" dt="2023-09-25T20:52:02.814" v="21" actId="21"/>
          <ac:spMkLst>
            <pc:docMk/>
            <pc:sldMk cId="1123468149" sldId="2147374729"/>
            <ac:spMk id="64" creationId="{AED1CBCA-5C7A-BDAC-0457-6D2C8B923123}"/>
          </ac:spMkLst>
        </pc:spChg>
        <pc:grpChg chg="add del">
          <ac:chgData name="andres rendo sanchez" userId="1d3ea28edc38020e" providerId="LiveId" clId="{040D5DD8-63C5-4430-AF4F-55BE80373FFF}" dt="2023-09-25T20:51:50.355" v="17" actId="21"/>
          <ac:grpSpMkLst>
            <pc:docMk/>
            <pc:sldMk cId="1123468149" sldId="2147374729"/>
            <ac:grpSpMk id="19" creationId="{AFD87377-4BDA-5393-74EA-B50E4A095798}"/>
          </ac:grpSpMkLst>
        </pc:grpChg>
        <pc:grpChg chg="del">
          <ac:chgData name="andres rendo sanchez" userId="1d3ea28edc38020e" providerId="LiveId" clId="{040D5DD8-63C5-4430-AF4F-55BE80373FFF}" dt="2023-09-25T20:51:42.535" v="14" actId="21"/>
          <ac:grpSpMkLst>
            <pc:docMk/>
            <pc:sldMk cId="1123468149" sldId="2147374729"/>
            <ac:grpSpMk id="20" creationId="{48341DD5-E11C-8956-AAD2-3F5339782826}"/>
          </ac:grpSpMkLst>
        </pc:grpChg>
        <pc:grpChg chg="del">
          <ac:chgData name="andres rendo sanchez" userId="1d3ea28edc38020e" providerId="LiveId" clId="{040D5DD8-63C5-4430-AF4F-55BE80373FFF}" dt="2023-09-25T20:51:59.424" v="20" actId="21"/>
          <ac:grpSpMkLst>
            <pc:docMk/>
            <pc:sldMk cId="1123468149" sldId="2147374729"/>
            <ac:grpSpMk id="27" creationId="{45E3EE3D-81F6-39DE-0C95-5769ED5B4160}"/>
          </ac:grpSpMkLst>
        </pc:grpChg>
        <pc:grpChg chg="del">
          <ac:chgData name="andres rendo sanchez" userId="1d3ea28edc38020e" providerId="LiveId" clId="{040D5DD8-63C5-4430-AF4F-55BE80373FFF}" dt="2023-09-25T20:51:09.717" v="9" actId="21"/>
          <ac:grpSpMkLst>
            <pc:docMk/>
            <pc:sldMk cId="1123468149" sldId="2147374729"/>
            <ac:grpSpMk id="73" creationId="{811783E4-6812-35FB-DAEB-7B65183AD7F7}"/>
          </ac:grpSpMkLst>
        </pc:grpChg>
        <pc:grpChg chg="del">
          <ac:chgData name="andres rendo sanchez" userId="1d3ea28edc38020e" providerId="LiveId" clId="{040D5DD8-63C5-4430-AF4F-55BE80373FFF}" dt="2023-09-25T20:51:00.184" v="5" actId="21"/>
          <ac:grpSpMkLst>
            <pc:docMk/>
            <pc:sldMk cId="1123468149" sldId="2147374729"/>
            <ac:grpSpMk id="74" creationId="{EB03E78B-0568-B4BD-36C3-01AFB14B06E4}"/>
          </ac:grpSpMkLst>
        </pc:grpChg>
        <pc:grpChg chg="del">
          <ac:chgData name="andres rendo sanchez" userId="1d3ea28edc38020e" providerId="LiveId" clId="{040D5DD8-63C5-4430-AF4F-55BE80373FFF}" dt="2023-09-25T20:50:57.402" v="4" actId="21"/>
          <ac:grpSpMkLst>
            <pc:docMk/>
            <pc:sldMk cId="1123468149" sldId="2147374729"/>
            <ac:grpSpMk id="75" creationId="{95374B37-6C42-B05A-9421-69EEFB58D3EE}"/>
          </ac:grpSpMkLst>
        </pc:grpChg>
        <pc:grpChg chg="del">
          <ac:chgData name="andres rendo sanchez" userId="1d3ea28edc38020e" providerId="LiveId" clId="{040D5DD8-63C5-4430-AF4F-55BE80373FFF}" dt="2023-09-25T20:50:53.316" v="1" actId="478"/>
          <ac:grpSpMkLst>
            <pc:docMk/>
            <pc:sldMk cId="1123468149" sldId="2147374729"/>
            <ac:grpSpMk id="76" creationId="{C34E48CA-BFF8-FC36-C632-E6A09A14062C}"/>
          </ac:grpSpMkLst>
        </pc:grpChg>
        <pc:picChg chg="del mod">
          <ac:chgData name="andres rendo sanchez" userId="1d3ea28edc38020e" providerId="LiveId" clId="{040D5DD8-63C5-4430-AF4F-55BE80373FFF}" dt="2023-09-25T20:53:01.632" v="45" actId="478"/>
          <ac:picMkLst>
            <pc:docMk/>
            <pc:sldMk cId="1123468149" sldId="2147374729"/>
            <ac:picMk id="34" creationId="{35823A1C-E648-0D28-6419-CFB3A3EB7281}"/>
          </ac:picMkLst>
        </pc:picChg>
        <pc:picChg chg="del mod">
          <ac:chgData name="andres rendo sanchez" userId="1d3ea28edc38020e" providerId="LiveId" clId="{040D5DD8-63C5-4430-AF4F-55BE80373FFF}" dt="2023-09-25T20:53:03.146" v="47" actId="478"/>
          <ac:picMkLst>
            <pc:docMk/>
            <pc:sldMk cId="1123468149" sldId="2147374729"/>
            <ac:picMk id="36" creationId="{84B918F8-9262-1B6E-39AF-B024406804AF}"/>
          </ac:picMkLst>
        </pc:picChg>
      </pc:sldChg>
    </pc:docChg>
  </pc:docChgLst>
  <pc:docChgLst>
    <pc:chgData name="andres rendo sanchez" userId="1d3ea28edc38020e" providerId="LiveId" clId="{E8E9EEE1-CE0B-4476-8BC1-775B0E5967C8}"/>
    <pc:docChg chg="custSel addSld delSld modSld sldOrd modMainMaster">
      <pc:chgData name="andres rendo sanchez" userId="1d3ea28edc38020e" providerId="LiveId" clId="{E8E9EEE1-CE0B-4476-8BC1-775B0E5967C8}" dt="2024-01-29T23:18:07.347" v="147"/>
      <pc:docMkLst>
        <pc:docMk/>
      </pc:docMkLst>
      <pc:sldChg chg="modSp del mod">
        <pc:chgData name="andres rendo sanchez" userId="1d3ea28edc38020e" providerId="LiveId" clId="{E8E9EEE1-CE0B-4476-8BC1-775B0E5967C8}" dt="2024-01-29T23:13:33.659" v="1" actId="47"/>
        <pc:sldMkLst>
          <pc:docMk/>
          <pc:sldMk cId="2092716802" sldId="256"/>
        </pc:sldMkLst>
        <pc:spChg chg="mod">
          <ac:chgData name="andres rendo sanchez" userId="1d3ea28edc38020e" providerId="LiveId" clId="{E8E9EEE1-CE0B-4476-8BC1-775B0E5967C8}" dt="2024-01-29T23:13:23.707" v="0" actId="1076"/>
          <ac:spMkLst>
            <pc:docMk/>
            <pc:sldMk cId="2092716802" sldId="256"/>
            <ac:spMk id="3" creationId="{B4A4AE5C-145B-6C48-6532-072C6DF03590}"/>
          </ac:spMkLst>
        </pc:spChg>
      </pc:sldChg>
      <pc:sldChg chg="modSp mod">
        <pc:chgData name="andres rendo sanchez" userId="1d3ea28edc38020e" providerId="LiveId" clId="{E8E9EEE1-CE0B-4476-8BC1-775B0E5967C8}" dt="2024-01-29T23:16:57.119" v="142" actId="20577"/>
        <pc:sldMkLst>
          <pc:docMk/>
          <pc:sldMk cId="1463238368" sldId="2147374727"/>
        </pc:sldMkLst>
        <pc:spChg chg="mod">
          <ac:chgData name="andres rendo sanchez" userId="1d3ea28edc38020e" providerId="LiveId" clId="{E8E9EEE1-CE0B-4476-8BC1-775B0E5967C8}" dt="2024-01-29T23:16:44.677" v="140" actId="20577"/>
          <ac:spMkLst>
            <pc:docMk/>
            <pc:sldMk cId="1463238368" sldId="2147374727"/>
            <ac:spMk id="6" creationId="{B6AD8DD2-CA7C-3F99-8BBF-C779E2840899}"/>
          </ac:spMkLst>
        </pc:spChg>
        <pc:spChg chg="mod">
          <ac:chgData name="andres rendo sanchez" userId="1d3ea28edc38020e" providerId="LiveId" clId="{E8E9EEE1-CE0B-4476-8BC1-775B0E5967C8}" dt="2024-01-29T23:16:39.332" v="124" actId="20577"/>
          <ac:spMkLst>
            <pc:docMk/>
            <pc:sldMk cId="1463238368" sldId="2147374727"/>
            <ac:spMk id="26" creationId="{289C7A8D-C47C-F5B1-FA0D-B4E37A4F0894}"/>
          </ac:spMkLst>
        </pc:spChg>
        <pc:spChg chg="mod">
          <ac:chgData name="andres rendo sanchez" userId="1d3ea28edc38020e" providerId="LiveId" clId="{E8E9EEE1-CE0B-4476-8BC1-775B0E5967C8}" dt="2024-01-29T23:15:47.808" v="59" actId="20577"/>
          <ac:spMkLst>
            <pc:docMk/>
            <pc:sldMk cId="1463238368" sldId="2147374727"/>
            <ac:spMk id="53" creationId="{7A25F110-E18F-83B2-4E05-13B7168C3CB9}"/>
          </ac:spMkLst>
        </pc:spChg>
        <pc:spChg chg="mod">
          <ac:chgData name="andres rendo sanchez" userId="1d3ea28edc38020e" providerId="LiveId" clId="{E8E9EEE1-CE0B-4476-8BC1-775B0E5967C8}" dt="2024-01-29T23:15:59.798" v="77" actId="20577"/>
          <ac:spMkLst>
            <pc:docMk/>
            <pc:sldMk cId="1463238368" sldId="2147374727"/>
            <ac:spMk id="54" creationId="{AAEC3362-A4F5-EC7A-A0C1-6B23927744BA}"/>
          </ac:spMkLst>
        </pc:spChg>
        <pc:spChg chg="mod">
          <ac:chgData name="andres rendo sanchez" userId="1d3ea28edc38020e" providerId="LiveId" clId="{E8E9EEE1-CE0B-4476-8BC1-775B0E5967C8}" dt="2024-01-29T23:16:57.119" v="142" actId="20577"/>
          <ac:spMkLst>
            <pc:docMk/>
            <pc:sldMk cId="1463238368" sldId="2147374727"/>
            <ac:spMk id="64" creationId="{AED1CBCA-5C7A-BDAC-0457-6D2C8B923123}"/>
          </ac:spMkLst>
        </pc:spChg>
      </pc:sldChg>
      <pc:sldChg chg="del">
        <pc:chgData name="andres rendo sanchez" userId="1d3ea28edc38020e" providerId="LiveId" clId="{E8E9EEE1-CE0B-4476-8BC1-775B0E5967C8}" dt="2024-01-29T23:17:02.699" v="143" actId="47"/>
        <pc:sldMkLst>
          <pc:docMk/>
          <pc:sldMk cId="2454171709" sldId="2147374728"/>
        </pc:sldMkLst>
      </pc:sldChg>
      <pc:sldChg chg="addSp delSp modSp add mod ord">
        <pc:chgData name="andres rendo sanchez" userId="1d3ea28edc38020e" providerId="LiveId" clId="{E8E9EEE1-CE0B-4476-8BC1-775B0E5967C8}" dt="2024-01-29T23:14:53.696" v="14" actId="1076"/>
        <pc:sldMkLst>
          <pc:docMk/>
          <pc:sldMk cId="1098135605" sldId="2147374729"/>
        </pc:sldMkLst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3" creationId="{03C88CC4-E4D1-D5C0-EEC2-7C542A0C3B44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" creationId="{06C964F1-6FC7-D6A9-B5A4-C8F3442B447C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16" creationId="{A2585F2C-59A7-8113-B323-E4443E83E38E}"/>
          </ac:spMkLst>
        </pc:spChg>
        <pc:spChg chg="del mod">
          <ac:chgData name="andres rendo sanchez" userId="1d3ea28edc38020e" providerId="LiveId" clId="{E8E9EEE1-CE0B-4476-8BC1-775B0E5967C8}" dt="2024-01-29T23:13:56.555" v="7" actId="21"/>
          <ac:spMkLst>
            <pc:docMk/>
            <pc:sldMk cId="1098135605" sldId="2147374729"/>
            <ac:spMk id="22" creationId="{D8EABCFA-6215-C5E6-E1A4-004A5034F45B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32" creationId="{7E1FECB2-04F8-A66C-BE6A-3A820EDE613A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33" creationId="{11029330-0D99-915B-0893-B9E8AA576673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34" creationId="{4F95DAB2-6061-8B50-2F48-77CB4A27F92D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39" creationId="{8C4F3892-5188-9431-8CB1-CB8999CC5A16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5" creationId="{5C76A7C4-67DE-E208-42A3-22A0B7437C76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6" creationId="{3A350CAA-8A77-2BAE-5904-4623D389E7AF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7" creationId="{0FF1C771-B7C9-AC1B-AE02-8594A964589F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8" creationId="{38615D38-4718-2685-00A8-33709ABB3C1A}"/>
          </ac:spMkLst>
        </pc:spChg>
        <pc:spChg chg="del">
          <ac:chgData name="andres rendo sanchez" userId="1d3ea28edc38020e" providerId="LiveId" clId="{E8E9EEE1-CE0B-4476-8BC1-775B0E5967C8}" dt="2024-01-29T23:13:46.645" v="3" actId="478"/>
          <ac:spMkLst>
            <pc:docMk/>
            <pc:sldMk cId="1098135605" sldId="2147374729"/>
            <ac:spMk id="49" creationId="{5D3E7EEE-927A-CECE-52FB-EBB33C3F2E09}"/>
          </ac:spMkLst>
        </pc:spChg>
        <pc:grpChg chg="del">
          <ac:chgData name="andres rendo sanchez" userId="1d3ea28edc38020e" providerId="LiveId" clId="{E8E9EEE1-CE0B-4476-8BC1-775B0E5967C8}" dt="2024-01-29T23:13:46.645" v="3" actId="478"/>
          <ac:grpSpMkLst>
            <pc:docMk/>
            <pc:sldMk cId="1098135605" sldId="2147374729"/>
            <ac:grpSpMk id="41" creationId="{9B36B6C0-C249-837E-89BB-3C879AC4F0E5}"/>
          </ac:grpSpMkLst>
        </pc:grpChg>
        <pc:graphicFrameChg chg="del">
          <ac:chgData name="andres rendo sanchez" userId="1d3ea28edc38020e" providerId="LiveId" clId="{E8E9EEE1-CE0B-4476-8BC1-775B0E5967C8}" dt="2024-01-29T23:13:46.645" v="3" actId="478"/>
          <ac:graphicFrameMkLst>
            <pc:docMk/>
            <pc:sldMk cId="1098135605" sldId="2147374729"/>
            <ac:graphicFrameMk id="24" creationId="{88602871-05DA-6D66-E8DE-D4CFD7D64FCD}"/>
          </ac:graphicFrameMkLst>
        </pc:graphicFrameChg>
        <pc:graphicFrameChg chg="del">
          <ac:chgData name="andres rendo sanchez" userId="1d3ea28edc38020e" providerId="LiveId" clId="{E8E9EEE1-CE0B-4476-8BC1-775B0E5967C8}" dt="2024-01-29T23:13:46.645" v="3" actId="478"/>
          <ac:graphicFrameMkLst>
            <pc:docMk/>
            <pc:sldMk cId="1098135605" sldId="2147374729"/>
            <ac:graphicFrameMk id="25" creationId="{DFB19947-A607-1D53-F0AA-B6BF9130351A}"/>
          </ac:graphicFrameMkLst>
        </pc:graphicFrameChg>
        <pc:graphicFrameChg chg="del">
          <ac:chgData name="andres rendo sanchez" userId="1d3ea28edc38020e" providerId="LiveId" clId="{E8E9EEE1-CE0B-4476-8BC1-775B0E5967C8}" dt="2024-01-29T23:13:46.645" v="3" actId="478"/>
          <ac:graphicFrameMkLst>
            <pc:docMk/>
            <pc:sldMk cId="1098135605" sldId="2147374729"/>
            <ac:graphicFrameMk id="27" creationId="{BB434648-7D90-07A8-F56E-35E3C77185CA}"/>
          </ac:graphicFrameMkLst>
        </pc:graphicFrameChg>
        <pc:graphicFrameChg chg="del">
          <ac:chgData name="andres rendo sanchez" userId="1d3ea28edc38020e" providerId="LiveId" clId="{E8E9EEE1-CE0B-4476-8BC1-775B0E5967C8}" dt="2024-01-29T23:13:46.645" v="3" actId="478"/>
          <ac:graphicFrameMkLst>
            <pc:docMk/>
            <pc:sldMk cId="1098135605" sldId="2147374729"/>
            <ac:graphicFrameMk id="29" creationId="{1CC0E40E-6814-7898-EF9D-9D0FE4F14724}"/>
          </ac:graphicFrameMkLst>
        </pc:graphicFrameChg>
        <pc:graphicFrameChg chg="del">
          <ac:chgData name="andres rendo sanchez" userId="1d3ea28edc38020e" providerId="LiveId" clId="{E8E9EEE1-CE0B-4476-8BC1-775B0E5967C8}" dt="2024-01-29T23:13:46.645" v="3" actId="478"/>
          <ac:graphicFrameMkLst>
            <pc:docMk/>
            <pc:sldMk cId="1098135605" sldId="2147374729"/>
            <ac:graphicFrameMk id="31" creationId="{DA4D3712-2FD1-8E9A-9473-6B4611626522}"/>
          </ac:graphicFrameMkLst>
        </pc:graphicFrameChg>
        <pc:picChg chg="add mod">
          <ac:chgData name="andres rendo sanchez" userId="1d3ea28edc38020e" providerId="LiveId" clId="{E8E9EEE1-CE0B-4476-8BC1-775B0E5967C8}" dt="2024-01-29T23:14:53.696" v="14" actId="1076"/>
          <ac:picMkLst>
            <pc:docMk/>
            <pc:sldMk cId="1098135605" sldId="2147374729"/>
            <ac:picMk id="2" creationId="{C53D3E46-FA83-B3A7-7CB5-FE7AB797D0DC}"/>
          </ac:picMkLst>
        </pc:picChg>
        <pc:picChg chg="add mod">
          <ac:chgData name="andres rendo sanchez" userId="1d3ea28edc38020e" providerId="LiveId" clId="{E8E9EEE1-CE0B-4476-8BC1-775B0E5967C8}" dt="2024-01-29T23:14:22.081" v="9" actId="1076"/>
          <ac:picMkLst>
            <pc:docMk/>
            <pc:sldMk cId="1098135605" sldId="2147374729"/>
            <ac:picMk id="6" creationId="{9FEC7894-5817-0E6D-7DF5-F780D8FAB245}"/>
          </ac:picMkLst>
        </pc:picChg>
        <pc:picChg chg="add del">
          <ac:chgData name="andres rendo sanchez" userId="1d3ea28edc38020e" providerId="LiveId" clId="{E8E9EEE1-CE0B-4476-8BC1-775B0E5967C8}" dt="2024-01-29T23:14:50.103" v="13"/>
          <ac:picMkLst>
            <pc:docMk/>
            <pc:sldMk cId="1098135605" sldId="2147374729"/>
            <ac:picMk id="7" creationId="{5800A930-04EC-D100-B9E5-B62C5C123A30}"/>
          </ac:picMkLst>
        </pc:picChg>
      </pc:sldChg>
      <pc:sldMasterChg chg="addSp modSldLayout">
        <pc:chgData name="andres rendo sanchez" userId="1d3ea28edc38020e" providerId="LiveId" clId="{E8E9EEE1-CE0B-4476-8BC1-775B0E5967C8}" dt="2024-01-29T23:17:58.015" v="146"/>
        <pc:sldMasterMkLst>
          <pc:docMk/>
          <pc:sldMasterMk cId="701627985" sldId="2147483662"/>
        </pc:sldMasterMkLst>
        <pc:graphicFrameChg chg="add">
          <ac:chgData name="andres rendo sanchez" userId="1d3ea28edc38020e" providerId="LiveId" clId="{E8E9EEE1-CE0B-4476-8BC1-775B0E5967C8}" dt="2024-01-29T23:17:58.015" v="146"/>
          <ac:graphicFrameMkLst>
            <pc:docMk/>
            <pc:sldMasterMk cId="701627985" sldId="2147483662"/>
            <ac:graphicFrameMk id="7" creationId="{EAAA6EC6-DDFA-60D6-E12E-09133D19625B}"/>
          </ac:graphicFrameMkLst>
        </pc:graphicFrame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618909497" sldId="2147483663"/>
          </pc:sldLayoutMkLst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618909497" sldId="2147483663"/>
              <ac:spMk id="6" creationId="{79F49B13-0A78-B000-E4B6-052C91C498D1}"/>
            </ac:spMkLst>
          </pc:spChg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618909497" sldId="2147483663"/>
              <ac:spMk id="10" creationId="{892272E3-7718-A3D7-E882-7DBAACDEDAC4}"/>
            </ac:spMkLst>
          </pc:spChg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618909497" sldId="2147483663"/>
              <ac:graphicFrameMk id="5" creationId="{3016AE75-3042-8A47-92C2-235CC783C344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1399660267" sldId="2147483664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1399660267" sldId="2147483664"/>
              <ac:graphicFrameMk id="7" creationId="{9544F351-9210-84A2-7153-498F59052F00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3999943803" sldId="2147483665"/>
          </pc:sldLayoutMkLst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3999943803" sldId="2147483665"/>
              <ac:spMk id="8" creationId="{654249A2-8231-D8DC-FBEF-3A589D862022}"/>
            </ac:spMkLst>
          </pc:spChg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3999943803" sldId="2147483665"/>
              <ac:spMk id="10" creationId="{289321AC-E6EB-CED1-1B30-B93D6B2F01E0}"/>
            </ac:spMkLst>
          </pc:spChg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3999943803" sldId="2147483665"/>
              <ac:graphicFrameMk id="7" creationId="{373DDBDF-2F95-32F6-63D7-DB6AE9C432DE}"/>
            </ac:graphicFrameMkLst>
          </pc:graphicFrameChg>
          <pc:picChg chg="add">
            <ac:chgData name="andres rendo sanchez" userId="1d3ea28edc38020e" providerId="LiveId" clId="{E8E9EEE1-CE0B-4476-8BC1-775B0E5967C8}" dt="2024-01-29T23:17:58.015" v="146"/>
            <ac:picMkLst>
              <pc:docMk/>
              <pc:sldMasterMk cId="701627985" sldId="2147483662"/>
              <pc:sldLayoutMk cId="3999943803" sldId="2147483665"/>
              <ac:picMk id="9" creationId="{EB477720-ACAF-F69F-79D8-834F176DD29F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3655061668" sldId="2147483666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3655061668" sldId="2147483666"/>
              <ac:graphicFrameMk id="8" creationId="{4F49084D-7BF7-01A3-F16F-3372963BA55A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591209677" sldId="2147483667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591209677" sldId="2147483667"/>
              <ac:graphicFrameMk id="2" creationId="{95CA93F4-DBC5-6711-70E1-4403EB79A9A1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3505713493" sldId="2147483668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3505713493" sldId="2147483668"/>
              <ac:graphicFrameMk id="2" creationId="{9AB825F2-0C64-AEF6-C895-9FC09731F948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448982664" sldId="2147483669"/>
          </pc:sldLayoutMkLst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448982664" sldId="2147483669"/>
              <ac:spMk id="5" creationId="{D6328E36-F933-F3A7-FB6C-791366E045AF}"/>
            </ac:spMkLst>
          </pc:spChg>
          <pc:spChg chg="add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448982664" sldId="2147483669"/>
              <ac:spMk id="6" creationId="{D147CF68-8FEC-2AE7-D845-38C525C4690C}"/>
            </ac:spMkLst>
          </pc:spChg>
          <pc:picChg chg="add">
            <ac:chgData name="andres rendo sanchez" userId="1d3ea28edc38020e" providerId="LiveId" clId="{E8E9EEE1-CE0B-4476-8BC1-775B0E5967C8}" dt="2024-01-29T23:17:58.015" v="146"/>
            <ac:picMkLst>
              <pc:docMk/>
              <pc:sldMasterMk cId="701627985" sldId="2147483662"/>
              <pc:sldLayoutMk cId="448982664" sldId="2147483669"/>
              <ac:picMk id="7" creationId="{ECD7F2B4-0431-AEEF-4AF3-0488BB90B8BD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1549961216" sldId="2147483670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1549961216" sldId="2147483670"/>
              <ac:graphicFrameMk id="8" creationId="{7644865C-45A6-5E91-E8A4-8F9E318B2946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1056433142" sldId="2147483671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1056433142" sldId="2147483671"/>
              <ac:graphicFrameMk id="5" creationId="{112556D6-D11C-D3E0-D3AA-0CEA38222F40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1701616800" sldId="2147483672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1701616800" sldId="2147483672"/>
              <ac:graphicFrameMk id="7" creationId="{4E80A0D0-D08A-57AF-DBE2-3CFF66355134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2580129192" sldId="2147483673"/>
          </pc:sldLayoutMkLst>
          <pc:graphicFrameChg chg="add">
            <ac:chgData name="andres rendo sanchez" userId="1d3ea28edc38020e" providerId="LiveId" clId="{E8E9EEE1-CE0B-4476-8BC1-775B0E5967C8}" dt="2024-01-29T23:17:58.015" v="146"/>
            <ac:graphicFrameMkLst>
              <pc:docMk/>
              <pc:sldMasterMk cId="701627985" sldId="2147483662"/>
              <pc:sldLayoutMk cId="2580129192" sldId="2147483673"/>
              <ac:graphicFrameMk id="7" creationId="{B28FDB9B-B736-05BB-A527-F786ADC1F7BD}"/>
            </ac:graphicFrameMkLst>
          </pc:graphicFrameChg>
        </pc:sldLayoutChg>
        <pc:sldLayoutChg chg="delSp">
          <pc:chgData name="andres rendo sanchez" userId="1d3ea28edc38020e" providerId="LiveId" clId="{E8E9EEE1-CE0B-4476-8BC1-775B0E5967C8}" dt="2024-01-29T23:17:58.015" v="146"/>
          <pc:sldLayoutMkLst>
            <pc:docMk/>
            <pc:sldMasterMk cId="701627985" sldId="2147483662"/>
            <pc:sldLayoutMk cId="2384197588" sldId="2147483674"/>
          </pc:sldLayoutMkLst>
          <pc:spChg chg="del">
            <ac:chgData name="andres rendo sanchez" userId="1d3ea28edc38020e" providerId="LiveId" clId="{E8E9EEE1-CE0B-4476-8BC1-775B0E5967C8}" dt="2024-01-29T23:17:58.015" v="146"/>
            <ac:spMkLst>
              <pc:docMk/>
              <pc:sldMasterMk cId="701627985" sldId="2147483662"/>
              <pc:sldLayoutMk cId="2384197588" sldId="2147483674"/>
              <ac:spMk id="3" creationId="{00000000-0000-0000-0000-000000000000}"/>
            </ac:spMkLst>
          </pc:spChg>
        </pc:sldLayoutChg>
      </pc:sldMasterChg>
      <pc:sldMasterChg chg="addSp modSldLayout">
        <pc:chgData name="andres rendo sanchez" userId="1d3ea28edc38020e" providerId="LiveId" clId="{E8E9EEE1-CE0B-4476-8BC1-775B0E5967C8}" dt="2024-01-29T23:17:35.999" v="145"/>
        <pc:sldMasterMkLst>
          <pc:docMk/>
          <pc:sldMasterMk cId="2298236788" sldId="2147483662"/>
        </pc:sldMasterMkLst>
        <pc:graphicFrameChg chg="add">
          <ac:chgData name="andres rendo sanchez" userId="1d3ea28edc38020e" providerId="LiveId" clId="{E8E9EEE1-CE0B-4476-8BC1-775B0E5967C8}" dt="2024-01-29T23:17:28.916" v="144"/>
          <ac:graphicFrameMkLst>
            <pc:docMk/>
            <pc:sldMasterMk cId="2298236788" sldId="2147483662"/>
            <ac:graphicFrameMk id="8" creationId="{A5F90184-67A9-F956-D275-EB534137B6C7}"/>
          </ac:graphicFrameMkLst>
        </pc:graphicFrame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2041515278" sldId="2147483663"/>
          </pc:sldLayoutMkLst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2041515278" sldId="2147483663"/>
              <ac:spMk id="10" creationId="{04B7D6F5-4B0E-9A02-FEFF-4EEC53749210}"/>
            </ac:spMkLst>
          </pc:spChg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2041515278" sldId="2147483663"/>
              <ac:spMk id="11" creationId="{2070D39C-8831-B0CA-6CD1-7B73388B8A4A}"/>
            </ac:spMkLst>
          </pc:spChg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2041515278" sldId="2147483663"/>
              <ac:graphicFrameMk id="9" creationId="{1C50B63D-99A3-D591-66C9-5EC0C37EC8F6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528133460" sldId="2147483664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528133460" sldId="2147483664"/>
              <ac:graphicFrameMk id="7" creationId="{6E8163C1-BCB9-8580-8639-2DA3B583E040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954911998" sldId="2147483665"/>
          </pc:sldLayoutMkLst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1954911998" sldId="2147483665"/>
              <ac:spMk id="8" creationId="{143D9F13-CF46-0F78-11B4-734D866184E8}"/>
            </ac:spMkLst>
          </pc:spChg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1954911998" sldId="2147483665"/>
              <ac:spMk id="10" creationId="{3C5F31FB-D5B3-8E5C-E624-9936A329A6C3}"/>
            </ac:spMkLst>
          </pc:spChg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954911998" sldId="2147483665"/>
              <ac:graphicFrameMk id="7" creationId="{390C78C2-B07D-FE0B-AD6A-3A3B7852A329}"/>
            </ac:graphicFrameMkLst>
          </pc:graphicFrameChg>
          <pc:picChg chg="add">
            <ac:chgData name="andres rendo sanchez" userId="1d3ea28edc38020e" providerId="LiveId" clId="{E8E9EEE1-CE0B-4476-8BC1-775B0E5967C8}" dt="2024-01-29T23:17:28.916" v="144"/>
            <ac:picMkLst>
              <pc:docMk/>
              <pc:sldMasterMk cId="2298236788" sldId="2147483662"/>
              <pc:sldLayoutMk cId="1954911998" sldId="2147483665"/>
              <ac:picMk id="9" creationId="{E312B2AF-0025-848D-8FD5-760BD5B81C1E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262618559" sldId="2147483666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262618559" sldId="2147483666"/>
              <ac:graphicFrameMk id="5" creationId="{8E8F95F9-1E9E-19C0-6842-84F25E41DC96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041707211" sldId="2147483667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041707211" sldId="2147483667"/>
              <ac:graphicFrameMk id="7" creationId="{3983A47A-0B57-403C-5837-00C98DC9E5FF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2465424009" sldId="2147483668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2465424009" sldId="2147483668"/>
              <ac:graphicFrameMk id="3" creationId="{1902DD36-81B4-359A-63A7-C934D5709686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977841039" sldId="2147483669"/>
          </pc:sldLayoutMkLst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1977841039" sldId="2147483669"/>
              <ac:spMk id="2" creationId="{FB75C36E-5AB4-E543-5531-6302C57782E4}"/>
            </ac:spMkLst>
          </pc:spChg>
          <pc:spChg chg="add">
            <ac:chgData name="andres rendo sanchez" userId="1d3ea28edc38020e" providerId="LiveId" clId="{E8E9EEE1-CE0B-4476-8BC1-775B0E5967C8}" dt="2024-01-29T23:17:28.916" v="144"/>
            <ac:spMkLst>
              <pc:docMk/>
              <pc:sldMasterMk cId="2298236788" sldId="2147483662"/>
              <pc:sldLayoutMk cId="1977841039" sldId="2147483669"/>
              <ac:spMk id="3" creationId="{EF082EFC-99DA-15CC-AF54-989132FD2B87}"/>
            </ac:spMkLst>
          </pc:spChg>
          <pc:picChg chg="add">
            <ac:chgData name="andres rendo sanchez" userId="1d3ea28edc38020e" providerId="LiveId" clId="{E8E9EEE1-CE0B-4476-8BC1-775B0E5967C8}" dt="2024-01-29T23:17:28.916" v="144"/>
            <ac:picMkLst>
              <pc:docMk/>
              <pc:sldMasterMk cId="2298236788" sldId="2147483662"/>
              <pc:sldLayoutMk cId="1977841039" sldId="2147483669"/>
              <ac:picMk id="4" creationId="{CBF2E98C-DF9B-694D-9DED-8B8E34B22DEE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536959020" sldId="2147483670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536959020" sldId="2147483670"/>
              <ac:graphicFrameMk id="5" creationId="{2C51C503-4748-DC7D-272F-31FAED515EBA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137286959" sldId="2147483671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137286959" sldId="2147483671"/>
              <ac:graphicFrameMk id="5" creationId="{80CA2A38-AF74-C2DD-C5D7-18CB4F0A7A07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816643106" sldId="2147483672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816643106" sldId="2147483672"/>
              <ac:graphicFrameMk id="4" creationId="{26FB267C-206B-F000-3E97-EF06F5AA2A8A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7:28.916" v="144"/>
          <pc:sldLayoutMkLst>
            <pc:docMk/>
            <pc:sldMasterMk cId="2298236788" sldId="2147483662"/>
            <pc:sldLayoutMk cId="1824306703" sldId="2147483673"/>
          </pc:sldLayoutMkLst>
          <pc:graphicFrameChg chg="add">
            <ac:chgData name="andres rendo sanchez" userId="1d3ea28edc38020e" providerId="LiveId" clId="{E8E9EEE1-CE0B-4476-8BC1-775B0E5967C8}" dt="2024-01-29T23:17:28.916" v="144"/>
            <ac:graphicFrameMkLst>
              <pc:docMk/>
              <pc:sldMasterMk cId="2298236788" sldId="2147483662"/>
              <pc:sldLayoutMk cId="1824306703" sldId="2147483673"/>
              <ac:graphicFrameMk id="4" creationId="{C08AD20A-3DEA-4C33-DC38-A1A7BDFC6D4D}"/>
            </ac:graphicFrameMkLst>
          </pc:graphicFrameChg>
        </pc:sldLayoutChg>
        <pc:sldLayoutChg chg="addSp delSp">
          <pc:chgData name="andres rendo sanchez" userId="1d3ea28edc38020e" providerId="LiveId" clId="{E8E9EEE1-CE0B-4476-8BC1-775B0E5967C8}" dt="2024-01-29T23:17:35.999" v="145"/>
          <pc:sldLayoutMkLst>
            <pc:docMk/>
            <pc:sldMasterMk cId="2298236788" sldId="2147483662"/>
            <pc:sldLayoutMk cId="4143416878" sldId="2147483674"/>
          </pc:sldLayoutMkLst>
          <pc:spChg chg="add del">
            <ac:chgData name="andres rendo sanchez" userId="1d3ea28edc38020e" providerId="LiveId" clId="{E8E9EEE1-CE0B-4476-8BC1-775B0E5967C8}" dt="2024-01-29T23:17:35.999" v="145"/>
            <ac:spMkLst>
              <pc:docMk/>
              <pc:sldMasterMk cId="2298236788" sldId="2147483662"/>
              <pc:sldLayoutMk cId="4143416878" sldId="2147483674"/>
              <ac:spMk id="3" creationId="{00000000-0000-0000-0000-000000000000}"/>
            </ac:spMkLst>
          </pc:spChg>
        </pc:sldLayoutChg>
      </pc:sldMasterChg>
      <pc:sldMasterChg chg="addSp modSldLayout">
        <pc:chgData name="andres rendo sanchez" userId="1d3ea28edc38020e" providerId="LiveId" clId="{E8E9EEE1-CE0B-4476-8BC1-775B0E5967C8}" dt="2024-01-29T23:18:07.347" v="147"/>
        <pc:sldMasterMkLst>
          <pc:docMk/>
          <pc:sldMasterMk cId="3174694578" sldId="2147483675"/>
        </pc:sldMasterMkLst>
        <pc:graphicFrameChg chg="add">
          <ac:chgData name="andres rendo sanchez" userId="1d3ea28edc38020e" providerId="LiveId" clId="{E8E9EEE1-CE0B-4476-8BC1-775B0E5967C8}" dt="2024-01-29T23:18:07.347" v="147"/>
          <ac:graphicFrameMkLst>
            <pc:docMk/>
            <pc:sldMasterMk cId="3174694578" sldId="2147483675"/>
            <ac:graphicFrameMk id="7" creationId="{4BE0C2BD-A997-9A13-7A04-3B5D7BE87657}"/>
          </ac:graphicFrameMkLst>
        </pc:graphicFrame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1511660566" sldId="2147483676"/>
          </pc:sldLayoutMkLst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1511660566" sldId="2147483676"/>
              <ac:spMk id="6" creationId="{F943EA0E-9824-F187-7DF8-0FF55EC3D8B8}"/>
            </ac:spMkLst>
          </pc:spChg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1511660566" sldId="2147483676"/>
              <ac:spMk id="10" creationId="{9DACFC6C-FC85-3265-AFEB-924A7D8C31CC}"/>
            </ac:spMkLst>
          </pc:spChg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1511660566" sldId="2147483676"/>
              <ac:graphicFrameMk id="5" creationId="{23D6F7B2-2247-8DAA-23BA-1DFF4A8317A5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641277075" sldId="2147483677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641277075" sldId="2147483677"/>
              <ac:graphicFrameMk id="7" creationId="{EFEC0C4A-1261-CCC5-E689-2EAFB354DCD8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2104713796" sldId="2147483678"/>
          </pc:sldLayoutMkLst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2104713796" sldId="2147483678"/>
              <ac:spMk id="8" creationId="{A6FE315D-3084-3ED9-E889-3CBA543C067C}"/>
            </ac:spMkLst>
          </pc:spChg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2104713796" sldId="2147483678"/>
              <ac:spMk id="10" creationId="{E2FFABD8-E3C5-6935-0C81-258915ED3694}"/>
            </ac:spMkLst>
          </pc:spChg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2104713796" sldId="2147483678"/>
              <ac:graphicFrameMk id="7" creationId="{311EE4EE-7C65-93AD-EB94-46B49DC594F8}"/>
            </ac:graphicFrameMkLst>
          </pc:graphicFrameChg>
          <pc:picChg chg="add">
            <ac:chgData name="andres rendo sanchez" userId="1d3ea28edc38020e" providerId="LiveId" clId="{E8E9EEE1-CE0B-4476-8BC1-775B0E5967C8}" dt="2024-01-29T23:18:07.347" v="147"/>
            <ac:picMkLst>
              <pc:docMk/>
              <pc:sldMasterMk cId="3174694578" sldId="2147483675"/>
              <pc:sldLayoutMk cId="2104713796" sldId="2147483678"/>
              <ac:picMk id="9" creationId="{41E256D5-FFC0-F1AD-538A-72B30A0774BB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303174711" sldId="2147483679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303174711" sldId="2147483679"/>
              <ac:graphicFrameMk id="8" creationId="{93C87C19-9D1D-517E-4476-6EE4883F2B8D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2311448083" sldId="2147483680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2311448083" sldId="2147483680"/>
              <ac:graphicFrameMk id="2" creationId="{450FF4CD-8504-CE56-53C6-55531DE62499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1805019879" sldId="2147483681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1805019879" sldId="2147483681"/>
              <ac:graphicFrameMk id="2" creationId="{0F85B324-6262-4CE1-FCA7-B59447329FEF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1304874745" sldId="2147483682"/>
          </pc:sldLayoutMkLst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1304874745" sldId="2147483682"/>
              <ac:spMk id="5" creationId="{191D8927-F970-173E-FA2E-20AD21025E8A}"/>
            </ac:spMkLst>
          </pc:spChg>
          <pc:spChg chg="add">
            <ac:chgData name="andres rendo sanchez" userId="1d3ea28edc38020e" providerId="LiveId" clId="{E8E9EEE1-CE0B-4476-8BC1-775B0E5967C8}" dt="2024-01-29T23:18:07.347" v="147"/>
            <ac:spMkLst>
              <pc:docMk/>
              <pc:sldMasterMk cId="3174694578" sldId="2147483675"/>
              <pc:sldLayoutMk cId="1304874745" sldId="2147483682"/>
              <ac:spMk id="6" creationId="{0C980145-C40A-8B43-3427-AAF3BCBC3DEE}"/>
            </ac:spMkLst>
          </pc:spChg>
          <pc:picChg chg="add">
            <ac:chgData name="andres rendo sanchez" userId="1d3ea28edc38020e" providerId="LiveId" clId="{E8E9EEE1-CE0B-4476-8BC1-775B0E5967C8}" dt="2024-01-29T23:18:07.347" v="147"/>
            <ac:picMkLst>
              <pc:docMk/>
              <pc:sldMasterMk cId="3174694578" sldId="2147483675"/>
              <pc:sldLayoutMk cId="1304874745" sldId="2147483682"/>
              <ac:picMk id="7" creationId="{C5E7E4F7-375F-1DF3-EF5F-369303EA46FF}"/>
            </ac:picMkLst>
          </pc:pic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3624586890" sldId="2147483683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3624586890" sldId="2147483683"/>
              <ac:graphicFrameMk id="8" creationId="{5FA1C7C3-7356-512C-B62C-07E5104B4EB8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1781718370" sldId="2147483684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1781718370" sldId="2147483684"/>
              <ac:graphicFrameMk id="5" creationId="{8C4822C7-1468-802A-A877-3107333ECF5B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1625478041" sldId="2147483685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1625478041" sldId="2147483685"/>
              <ac:graphicFrameMk id="7" creationId="{D7CFEAC9-A511-576B-A216-FF1B16446B28}"/>
            </ac:graphicFrameMkLst>
          </pc:graphicFrameChg>
        </pc:sldLayoutChg>
        <pc:sldLayoutChg chg="addSp">
          <pc:chgData name="andres rendo sanchez" userId="1d3ea28edc38020e" providerId="LiveId" clId="{E8E9EEE1-CE0B-4476-8BC1-775B0E5967C8}" dt="2024-01-29T23:18:07.347" v="147"/>
          <pc:sldLayoutMkLst>
            <pc:docMk/>
            <pc:sldMasterMk cId="3174694578" sldId="2147483675"/>
            <pc:sldLayoutMk cId="643838449" sldId="2147483686"/>
          </pc:sldLayoutMkLst>
          <pc:graphicFrameChg chg="add">
            <ac:chgData name="andres rendo sanchez" userId="1d3ea28edc38020e" providerId="LiveId" clId="{E8E9EEE1-CE0B-4476-8BC1-775B0E5967C8}" dt="2024-01-29T23:18:07.347" v="147"/>
            <ac:graphicFrameMkLst>
              <pc:docMk/>
              <pc:sldMasterMk cId="3174694578" sldId="2147483675"/>
              <pc:sldLayoutMk cId="643838449" sldId="2147483686"/>
              <ac:graphicFrameMk id="7" creationId="{31F7550B-2F75-921C-76B6-914945800EB5}"/>
            </ac:graphicFrameMkLst>
          </pc:graphicFrameChg>
        </pc:sldLayoutChg>
      </pc:sldMasterChg>
    </pc:docChg>
  </pc:docChgLst>
  <pc:docChgLst>
    <pc:chgData name="Valeria Monterrubio Castillo" userId="74e6b25d-93d1-4610-8db5-edd678c07fad" providerId="ADAL" clId="{CB779334-254B-44A1-9353-2B491CE9777B}"/>
    <pc:docChg chg="modSld">
      <pc:chgData name="Valeria Monterrubio Castillo" userId="74e6b25d-93d1-4610-8db5-edd678c07fad" providerId="ADAL" clId="{CB779334-254B-44A1-9353-2B491CE9777B}" dt="2023-05-11T23:29:50.463" v="35"/>
      <pc:docMkLst>
        <pc:docMk/>
      </pc:docMkLst>
      <pc:sldChg chg="modSp mod">
        <pc:chgData name="Valeria Monterrubio Castillo" userId="74e6b25d-93d1-4610-8db5-edd678c07fad" providerId="ADAL" clId="{CB779334-254B-44A1-9353-2B491CE9777B}" dt="2023-05-11T23:29:01.005" v="34" actId="1038"/>
        <pc:sldMkLst>
          <pc:docMk/>
          <pc:sldMk cId="1463238368" sldId="2147374727"/>
        </pc:sldMkLst>
        <pc:spChg chg="mod">
          <ac:chgData name="Valeria Monterrubio Castillo" userId="74e6b25d-93d1-4610-8db5-edd678c07fad" providerId="ADAL" clId="{CB779334-254B-44A1-9353-2B491CE9777B}" dt="2023-05-11T23:28:43.128" v="18" actId="14100"/>
          <ac:spMkLst>
            <pc:docMk/>
            <pc:sldMk cId="1463238368" sldId="2147374727"/>
            <ac:spMk id="58" creationId="{3BF96F08-FF5E-3EE0-E989-F9B15D779DBF}"/>
          </ac:spMkLst>
        </pc:spChg>
        <pc:spChg chg="mod">
          <ac:chgData name="Valeria Monterrubio Castillo" userId="74e6b25d-93d1-4610-8db5-edd678c07fad" providerId="ADAL" clId="{CB779334-254B-44A1-9353-2B491CE9777B}" dt="2023-05-11T23:29:01.005" v="34" actId="1038"/>
          <ac:spMkLst>
            <pc:docMk/>
            <pc:sldMk cId="1463238368" sldId="2147374727"/>
            <ac:spMk id="59" creationId="{62101383-E08A-F33F-0658-1BDE48BC894A}"/>
          </ac:spMkLst>
        </pc:spChg>
        <pc:spChg chg="mod">
          <ac:chgData name="Valeria Monterrubio Castillo" userId="74e6b25d-93d1-4610-8db5-edd678c07fad" providerId="ADAL" clId="{CB779334-254B-44A1-9353-2B491CE9777B}" dt="2023-05-11T23:29:01.005" v="34" actId="1038"/>
          <ac:spMkLst>
            <pc:docMk/>
            <pc:sldMk cId="1463238368" sldId="2147374727"/>
            <ac:spMk id="60" creationId="{7EBDDCE7-503F-7CA4-8884-F96761286087}"/>
          </ac:spMkLst>
        </pc:spChg>
        <pc:spChg chg="mod">
          <ac:chgData name="Valeria Monterrubio Castillo" userId="74e6b25d-93d1-4610-8db5-edd678c07fad" providerId="ADAL" clId="{CB779334-254B-44A1-9353-2B491CE9777B}" dt="2023-05-11T23:29:01.005" v="34" actId="1038"/>
          <ac:spMkLst>
            <pc:docMk/>
            <pc:sldMk cId="1463238368" sldId="2147374727"/>
            <ac:spMk id="61" creationId="{86593656-D06B-A7B1-2D7F-94FF8F401EB9}"/>
          </ac:spMkLst>
        </pc:spChg>
      </pc:sldChg>
      <pc:sldChg chg="modSp">
        <pc:chgData name="Valeria Monterrubio Castillo" userId="74e6b25d-93d1-4610-8db5-edd678c07fad" providerId="ADAL" clId="{CB779334-254B-44A1-9353-2B491CE9777B}" dt="2023-05-11T23:29:50.463" v="35"/>
        <pc:sldMkLst>
          <pc:docMk/>
          <pc:sldMk cId="2454171709" sldId="2147374728"/>
        </pc:sldMkLst>
        <pc:graphicFrameChg chg="mod">
          <ac:chgData name="Valeria Monterrubio Castillo" userId="74e6b25d-93d1-4610-8db5-edd678c07fad" providerId="ADAL" clId="{CB779334-254B-44A1-9353-2B491CE9777B}" dt="2023-05-11T23:29:50.463" v="35"/>
          <ac:graphicFrameMkLst>
            <pc:docMk/>
            <pc:sldMk cId="2454171709" sldId="2147374728"/>
            <ac:graphicFrameMk id="31" creationId="{DA4D3712-2FD1-8E9A-9473-6B4611626522}"/>
          </ac:graphicFrameMkLst>
        </pc:graphicFrameChg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>
            <a:extLst>
              <a:ext uri="{FF2B5EF4-FFF2-40B4-BE49-F238E27FC236}">
                <a16:creationId xmlns:a16="http://schemas.microsoft.com/office/drawing/2014/main" id="{B181AE3D-E2F3-439F-A648-50A1ACE28F4B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3" name="Marcador de fecha 2">
            <a:extLst>
              <a:ext uri="{FF2B5EF4-FFF2-40B4-BE49-F238E27FC236}">
                <a16:creationId xmlns:a16="http://schemas.microsoft.com/office/drawing/2014/main" id="{983C53D8-701F-4D89-B9B4-CA5094752EB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5439014" y="0"/>
            <a:ext cx="4160520" cy="367454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9F85529-239C-4508-A50C-2A867F786A3D}" type="datetimeFigureOut">
              <a:rPr lang="es-MX" smtClean="0"/>
              <a:t>29/01/2024</a:t>
            </a:fld>
            <a:endParaRPr lang="es-MX" dirty="0"/>
          </a:p>
        </p:txBody>
      </p:sp>
      <p:sp>
        <p:nvSpPr>
          <p:cNvPr id="4" name="Marcador de pie de página 3">
            <a:extLst>
              <a:ext uri="{FF2B5EF4-FFF2-40B4-BE49-F238E27FC236}">
                <a16:creationId xmlns:a16="http://schemas.microsoft.com/office/drawing/2014/main" id="{EE6CBE59-45CB-4D3D-9B26-F0698E55C28D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5" name="Marcador de número de diapositiva 4">
            <a:extLst>
              <a:ext uri="{FF2B5EF4-FFF2-40B4-BE49-F238E27FC236}">
                <a16:creationId xmlns:a16="http://schemas.microsoft.com/office/drawing/2014/main" id="{1FA86E8C-146D-491D-9866-9C2246A014D3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5439014" y="6947748"/>
            <a:ext cx="4160520" cy="367453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r">
              <a:defRPr sz="1300"/>
            </a:lvl1pPr>
          </a:lstStyle>
          <a:p>
            <a:fld id="{CA1A30E4-0CF8-4439-BC68-EA356D19D54D}" type="slidenum">
              <a:rPr lang="es-MX" smtClean="0"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3819488668"/>
      </p:ext>
    </p:extLst>
  </p:cSld>
  <p:clrMap bg1="lt1" tx1="dk1" bg2="lt2" tx2="dk2" accent1="accent1" accent2="accent2" accent3="accent3" accent4="accent4" accent5="accent5" accent6="accent6" hlink="hlink" folHlink="folHlink"/>
  <p:hf hdr="0" ftr="0"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Marcador de encabezado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3" name="Marcador de fecha 2"/>
          <p:cNvSpPr>
            <a:spLocks noGrp="1"/>
          </p:cNvSpPr>
          <p:nvPr>
            <p:ph type="dt" idx="1"/>
          </p:nvPr>
        </p:nvSpPr>
        <p:spPr>
          <a:xfrm>
            <a:off x="5438458" y="1"/>
            <a:ext cx="4160520" cy="367030"/>
          </a:xfrm>
          <a:prstGeom prst="rect">
            <a:avLst/>
          </a:prstGeom>
        </p:spPr>
        <p:txBody>
          <a:bodyPr vert="horz" lIns="96661" tIns="48331" rIns="96661" bIns="48331" rtlCol="0"/>
          <a:lstStyle>
            <a:lvl1pPr algn="r">
              <a:defRPr sz="1300"/>
            </a:lvl1pPr>
          </a:lstStyle>
          <a:p>
            <a:fld id="{7F7E01D3-EE45-429E-8EE3-198B6F783B62}" type="datetimeFigureOut">
              <a:rPr lang="es-MX" smtClean="0"/>
              <a:t>29/01/2024</a:t>
            </a:fld>
            <a:endParaRPr lang="es-MX" dirty="0"/>
          </a:p>
        </p:txBody>
      </p:sp>
      <p:sp>
        <p:nvSpPr>
          <p:cNvPr id="4" name="Marcador de imagen de diapositiva 3"/>
          <p:cNvSpPr>
            <a:spLocks noGrp="1" noRot="1" noChangeAspect="1"/>
          </p:cNvSpPr>
          <p:nvPr>
            <p:ph type="sldImg" idx="2"/>
          </p:nvPr>
        </p:nvSpPr>
        <p:spPr>
          <a:xfrm>
            <a:off x="2606675" y="914400"/>
            <a:ext cx="4387850" cy="2468563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6661" tIns="48331" rIns="96661" bIns="48331" rtlCol="0" anchor="ctr"/>
          <a:lstStyle/>
          <a:p>
            <a:endParaRPr lang="es-MX" dirty="0"/>
          </a:p>
        </p:txBody>
      </p:sp>
      <p:sp>
        <p:nvSpPr>
          <p:cNvPr id="5" name="Marcador de notas 4"/>
          <p:cNvSpPr>
            <a:spLocks noGrp="1"/>
          </p:cNvSpPr>
          <p:nvPr>
            <p:ph type="body" sz="quarter" idx="3"/>
          </p:nvPr>
        </p:nvSpPr>
        <p:spPr>
          <a:xfrm>
            <a:off x="960120" y="3520439"/>
            <a:ext cx="7680960" cy="2880361"/>
          </a:xfrm>
          <a:prstGeom prst="rect">
            <a:avLst/>
          </a:prstGeom>
        </p:spPr>
        <p:txBody>
          <a:bodyPr vert="horz" lIns="96661" tIns="48331" rIns="96661" bIns="48331" rtlCol="0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s-MX"/>
          </a:p>
        </p:txBody>
      </p:sp>
      <p:sp>
        <p:nvSpPr>
          <p:cNvPr id="6" name="Marcador de pie de página 5"/>
          <p:cNvSpPr>
            <a:spLocks noGrp="1"/>
          </p:cNvSpPr>
          <p:nvPr>
            <p:ph type="ftr" sz="quarter" idx="4"/>
          </p:nvPr>
        </p:nvSpPr>
        <p:spPr>
          <a:xfrm>
            <a:off x="0" y="6948171"/>
            <a:ext cx="4160520" cy="367029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l">
              <a:defRPr sz="1300"/>
            </a:lvl1pPr>
          </a:lstStyle>
          <a:p>
            <a:endParaRPr lang="es-MX" dirty="0"/>
          </a:p>
        </p:txBody>
      </p:sp>
      <p:sp>
        <p:nvSpPr>
          <p:cNvPr id="7" name="Marcador de número de diapositiva 6"/>
          <p:cNvSpPr>
            <a:spLocks noGrp="1"/>
          </p:cNvSpPr>
          <p:nvPr>
            <p:ph type="sldNum" sz="quarter" idx="5"/>
          </p:nvPr>
        </p:nvSpPr>
        <p:spPr>
          <a:xfrm>
            <a:off x="8089200" y="6547200"/>
            <a:ext cx="1512000" cy="768000"/>
          </a:xfrm>
          <a:prstGeom prst="rect">
            <a:avLst/>
          </a:prstGeom>
        </p:spPr>
        <p:txBody>
          <a:bodyPr vert="horz" lIns="96661" tIns="48331" rIns="96661" bIns="48331" rtlCol="0" anchor="b"/>
          <a:lstStyle>
            <a:lvl1pPr algn="ctr">
              <a:defRPr sz="15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</a:lstStyle>
          <a:p>
            <a:fld id="{C3937161-051E-4C87-8F8A-A3161C5B21A1}" type="slidenum">
              <a:rPr lang="es-MX" smtClean="0"/>
              <a:pPr/>
              <a:t>‹Nº›</a:t>
            </a:fld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4131537314"/>
      </p:ext>
    </p:extLst>
  </p:cSld>
  <p:clrMap bg1="lt1" tx1="dk1" bg2="lt2" tx2="dk2" accent1="accent1" accent2="accent2" accent3="accent3" accent4="accent4" accent5="accent5" accent6="accent6" hlink="hlink" folHlink="folHlink"/>
  <p:hf hdr="0" ftr="0"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4" Type="http://schemas.openxmlformats.org/officeDocument/2006/relationships/image" Target="../media/image1.emf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1.xml"/><Relationship Id="rId4" Type="http://schemas.openxmlformats.org/officeDocument/2006/relationships/image" Target="../media/image1.emf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2.xml"/><Relationship Id="rId4" Type="http://schemas.openxmlformats.org/officeDocument/2006/relationships/image" Target="../media/image1.emf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3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3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4.xml"/><Relationship Id="rId4" Type="http://schemas.openxmlformats.org/officeDocument/2006/relationships/image" Target="../media/image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4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5.xml"/><Relationship Id="rId5" Type="http://schemas.openxmlformats.org/officeDocument/2006/relationships/image" Target="../media/image2.png"/><Relationship Id="rId4" Type="http://schemas.openxmlformats.org/officeDocument/2006/relationships/image" Target="../media/image1.emf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6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7.xml"/><Relationship Id="rId4" Type="http://schemas.openxmlformats.org/officeDocument/2006/relationships/image" Target="../media/image1.emf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8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9.xml"/><Relationship Id="rId4" Type="http://schemas.openxmlformats.org/officeDocument/2006/relationships/image" Target="../media/image1.emf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9.bin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10.xml"/><Relationship Id="rId4" Type="http://schemas.openxmlformats.org/officeDocument/2006/relationships/image" Target="../media/image1.emf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a de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Rectangle 3"/>
          <p:cNvSpPr/>
          <p:nvPr/>
        </p:nvSpPr>
        <p:spPr>
          <a:xfrm>
            <a:off x="0" y="0"/>
            <a:ext cx="1219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03504" y="770467"/>
            <a:ext cx="10782300" cy="3352800"/>
          </a:xfrm>
        </p:spPr>
        <p:txBody>
          <a:bodyPr anchor="b">
            <a:noAutofit/>
          </a:bodyPr>
          <a:lstStyle>
            <a:lvl1pPr algn="l">
              <a:lnSpc>
                <a:spcPct val="80000"/>
              </a:lnSpc>
              <a:defRPr sz="8800" spc="-120" baseline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67512" y="4206876"/>
            <a:ext cx="9228201" cy="1645920"/>
          </a:xfrm>
        </p:spPr>
        <p:txBody>
          <a:bodyPr>
            <a:normAutofit/>
          </a:bodyPr>
          <a:lstStyle>
            <a:lvl1pPr marL="0" indent="0" algn="l">
              <a:buNone/>
              <a:defRPr sz="3200">
                <a:solidFill>
                  <a:schemeClr val="bg1"/>
                </a:solidFill>
                <a:latin typeface="+mj-lt"/>
              </a:defRPr>
            </a:lvl1pPr>
            <a:lvl2pPr marL="457200" indent="0" algn="ctr">
              <a:buNone/>
              <a:defRPr sz="2800"/>
            </a:lvl2pPr>
            <a:lvl3pPr marL="914400" indent="0" algn="ctr">
              <a:buNone/>
              <a:defRPr sz="2400"/>
            </a:lvl3pPr>
            <a:lvl4pPr marL="1371600" indent="0" algn="ctr">
              <a:buNone/>
              <a:defRPr sz="2000"/>
            </a:lvl4pPr>
            <a:lvl5pPr marL="1828800" indent="0" algn="ctr">
              <a:buNone/>
              <a:defRPr sz="2000"/>
            </a:lvl5pPr>
            <a:lvl6pPr marL="2286000" indent="0" algn="ctr">
              <a:buNone/>
              <a:defRPr sz="2000"/>
            </a:lvl6pPr>
            <a:lvl7pPr marL="2743200" indent="0" algn="ctr">
              <a:buNone/>
              <a:defRPr sz="2000"/>
            </a:lvl7pPr>
            <a:lvl8pPr marL="3200400" indent="0" algn="ctr">
              <a:buNone/>
              <a:defRPr sz="2000"/>
            </a:lvl8pPr>
            <a:lvl9pPr marL="3657600" indent="0" algn="ctr">
              <a:buNone/>
              <a:defRPr sz="2000"/>
            </a:lvl9pPr>
          </a:lstStyle>
          <a:p>
            <a:r>
              <a:rPr lang="es-ES"/>
              <a:t>Haga clic para modificar el estilo de subtítulo del patrón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5586B75A-687E-405C-8A0B-8D00578BA2C3}" type="datetimeFigureOut">
              <a:rPr lang="en-US" smtClean="0"/>
              <a:pPr/>
              <a:t>1/29/2024</a:t>
            </a:fld>
            <a:endParaRPr lang="en-US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23D6F7B2-2247-8DAA-23BA-1DFF4A8317A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54049867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23D6F7B2-2247-8DAA-23BA-1DFF4A8317A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F943EA0E-9824-F187-7DF8-0FF55EC3D8B8}"/>
              </a:ext>
            </a:extLst>
          </p:cNvPr>
          <p:cNvSpPr txBox="1">
            <a:spLocks/>
          </p:cNvSpPr>
          <p:nvPr userDrawn="1"/>
        </p:nvSpPr>
        <p:spPr>
          <a:xfrm>
            <a:off x="5008653" y="6531927"/>
            <a:ext cx="7011423" cy="24938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NTT DATA © 2023</a:t>
            </a:r>
          </a:p>
        </p:txBody>
      </p:sp>
      <p:sp>
        <p:nvSpPr>
          <p:cNvPr id="10" name="Footer Placeholder 4">
            <a:extLst>
              <a:ext uri="{FF2B5EF4-FFF2-40B4-BE49-F238E27FC236}">
                <a16:creationId xmlns:a16="http://schemas.microsoft.com/office/drawing/2014/main" id="{9DACFC6C-FC85-3265-AFEB-924A7D8C31CC}"/>
              </a:ext>
            </a:extLst>
          </p:cNvPr>
          <p:cNvSpPr txBox="1">
            <a:spLocks/>
          </p:cNvSpPr>
          <p:nvPr userDrawn="1"/>
        </p:nvSpPr>
        <p:spPr>
          <a:xfrm>
            <a:off x="5008653" y="6363227"/>
            <a:ext cx="7011423" cy="24938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s-MX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Marzo 2023 ; Ciudad de México</a:t>
            </a:r>
          </a:p>
        </p:txBody>
      </p:sp>
    </p:spTree>
    <p:extLst>
      <p:ext uri="{BB962C8B-B14F-4D97-AF65-F5344CB8AC3E}">
        <p14:creationId xmlns:p14="http://schemas.microsoft.com/office/powerpoint/2010/main" val="1511660566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vertTx" preserve="1">
  <p:cSld name="Título y texto vertica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/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39C3E348-6B66-41E0-A472-ADE2C9A4F739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D7CFEAC9-A511-576B-A216-FF1B16446B2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8503952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D7CFEAC9-A511-576B-A216-FF1B16446B2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625478041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vertTitleAndTx" preserve="1">
  <p:cSld name="Título vertical y tex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Vertical Title 1"/>
          <p:cNvSpPr>
            <a:spLocks noGrp="1"/>
          </p:cNvSpPr>
          <p:nvPr>
            <p:ph type="title" orient="vert"/>
          </p:nvPr>
        </p:nvSpPr>
        <p:spPr>
          <a:xfrm>
            <a:off x="8743950" y="695325"/>
            <a:ext cx="2628900" cy="4800600"/>
          </a:xfrm>
        </p:spPr>
        <p:txBody>
          <a:bodyPr vert="eaVert"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Vertical Text Placeholder 2"/>
          <p:cNvSpPr>
            <a:spLocks noGrp="1"/>
          </p:cNvSpPr>
          <p:nvPr>
            <p:ph type="body" orient="vert" idx="1"/>
          </p:nvPr>
        </p:nvSpPr>
        <p:spPr>
          <a:xfrm>
            <a:off x="771525" y="714375"/>
            <a:ext cx="7734300" cy="5400675"/>
          </a:xfrm>
        </p:spPr>
        <p:txBody>
          <a:bodyPr vert="eaVert"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0D6DC41C-4257-4F3D-B294-8617830FE5D7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1F7550B-2F75-921C-76B6-914945800EB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9561680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31F7550B-2F75-921C-76B6-914945800EB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3838449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>
  <p:cSld name="7_Diseño personalizado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4" name="Objeto 3" hidden="1">
            <a:extLst>
              <a:ext uri="{FF2B5EF4-FFF2-40B4-BE49-F238E27FC236}">
                <a16:creationId xmlns:a16="http://schemas.microsoft.com/office/drawing/2014/main" id="{2E2FC0E3-896E-6A11-89A2-BA2B683A79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7305877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4" name="Objeto 3" hidden="1">
                        <a:extLst>
                          <a:ext uri="{FF2B5EF4-FFF2-40B4-BE49-F238E27FC236}">
                            <a16:creationId xmlns:a16="http://schemas.microsoft.com/office/drawing/2014/main" id="{2E2FC0E3-896E-6A11-89A2-BA2B683A79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Rectángulo 1">
            <a:extLst>
              <a:ext uri="{FF2B5EF4-FFF2-40B4-BE49-F238E27FC236}">
                <a16:creationId xmlns:a16="http://schemas.microsoft.com/office/drawing/2014/main" id="{8B54F7F2-7E53-A74E-889F-E45FB06959BF}"/>
              </a:ext>
            </a:extLst>
          </p:cNvPr>
          <p:cNvSpPr/>
          <p:nvPr userDrawn="1"/>
        </p:nvSpPr>
        <p:spPr>
          <a:xfrm>
            <a:off x="0" y="6614160"/>
            <a:ext cx="12192000" cy="2438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29" name="Marcador de posición de imagen 28" title="Decorativo">
            <a:extLst>
              <a:ext uri="{FF2B5EF4-FFF2-40B4-BE49-F238E27FC236}">
                <a16:creationId xmlns:a16="http://schemas.microsoft.com/office/drawing/2014/main" id="{AA648B5A-E380-4E42-882E-71EBF6838E22}"/>
              </a:ext>
            </a:extLst>
          </p:cNvPr>
          <p:cNvSpPr>
            <a:spLocks noGrp="1"/>
          </p:cNvSpPr>
          <p:nvPr>
            <p:ph type="pic" sz="quarter" idx="12"/>
          </p:nvPr>
        </p:nvSpPr>
        <p:spPr>
          <a:xfrm>
            <a:off x="1" y="0"/>
            <a:ext cx="4910666" cy="6858000"/>
          </a:xfrm>
        </p:spPr>
        <p:txBody>
          <a:bodyPr rtlCol="0"/>
          <a:lstStyle/>
          <a:p>
            <a:pPr rtl="0"/>
            <a:endParaRPr lang="es-ES" noProof="0" dirty="0"/>
          </a:p>
        </p:txBody>
      </p:sp>
      <p:sp>
        <p:nvSpPr>
          <p:cNvPr id="32" name="Marcador de texto 30">
            <a:extLst>
              <a:ext uri="{FF2B5EF4-FFF2-40B4-BE49-F238E27FC236}">
                <a16:creationId xmlns:a16="http://schemas.microsoft.com/office/drawing/2014/main" id="{A0A47E85-3BCA-460F-8AB1-52D89AC152B5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3468799" y="101825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3" name="Marcador de texto 30">
            <a:extLst>
              <a:ext uri="{FF2B5EF4-FFF2-40B4-BE49-F238E27FC236}">
                <a16:creationId xmlns:a16="http://schemas.microsoft.com/office/drawing/2014/main" id="{D357C748-EEC9-489A-BCC6-CA3A91E3F2AD}"/>
              </a:ext>
            </a:extLst>
          </p:cNvPr>
          <p:cNvSpPr>
            <a:spLocks noGrp="1"/>
          </p:cNvSpPr>
          <p:nvPr>
            <p:ph type="body" sz="quarter" idx="13" hasCustomPrompt="1"/>
          </p:nvPr>
        </p:nvSpPr>
        <p:spPr>
          <a:xfrm>
            <a:off x="3468799" y="2094699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4" name="Marcador de texto 30">
            <a:extLst>
              <a:ext uri="{FF2B5EF4-FFF2-40B4-BE49-F238E27FC236}">
                <a16:creationId xmlns:a16="http://schemas.microsoft.com/office/drawing/2014/main" id="{59136E3C-98E8-457D-ABD1-BA278DBB491B}"/>
              </a:ext>
            </a:extLst>
          </p:cNvPr>
          <p:cNvSpPr>
            <a:spLocks noGrp="1"/>
          </p:cNvSpPr>
          <p:nvPr>
            <p:ph type="body" sz="quarter" idx="14" hasCustomPrompt="1"/>
          </p:nvPr>
        </p:nvSpPr>
        <p:spPr>
          <a:xfrm>
            <a:off x="3468799" y="317114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5" name="Marcador de texto 30">
            <a:extLst>
              <a:ext uri="{FF2B5EF4-FFF2-40B4-BE49-F238E27FC236}">
                <a16:creationId xmlns:a16="http://schemas.microsoft.com/office/drawing/2014/main" id="{3F9938E0-7CFD-4C1C-88B0-388D25B8B1B8}"/>
              </a:ext>
            </a:extLst>
          </p:cNvPr>
          <p:cNvSpPr>
            <a:spLocks noGrp="1"/>
          </p:cNvSpPr>
          <p:nvPr>
            <p:ph type="body" sz="quarter" idx="15" hasCustomPrompt="1"/>
          </p:nvPr>
        </p:nvSpPr>
        <p:spPr>
          <a:xfrm>
            <a:off x="3468799" y="4247589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6" name="Marcador de texto 30">
            <a:extLst>
              <a:ext uri="{FF2B5EF4-FFF2-40B4-BE49-F238E27FC236}">
                <a16:creationId xmlns:a16="http://schemas.microsoft.com/office/drawing/2014/main" id="{D274E9A2-3272-442A-A247-A383255C45F7}"/>
              </a:ext>
            </a:extLst>
          </p:cNvPr>
          <p:cNvSpPr>
            <a:spLocks noGrp="1"/>
          </p:cNvSpPr>
          <p:nvPr>
            <p:ph type="body" sz="quarter" idx="16" hasCustomPrompt="1"/>
          </p:nvPr>
        </p:nvSpPr>
        <p:spPr>
          <a:xfrm>
            <a:off x="3468799" y="5324034"/>
            <a:ext cx="4801847" cy="755650"/>
          </a:xfrm>
        </p:spPr>
        <p:txBody>
          <a:bodyPr rtlCol="0" anchor="ctr">
            <a:normAutofit/>
          </a:bodyPr>
          <a:lstStyle>
            <a:lvl1pPr marL="0" indent="0">
              <a:spcBef>
                <a:spcPts val="0"/>
              </a:spcBef>
              <a:buNone/>
              <a:defRPr sz="1400">
                <a:solidFill>
                  <a:schemeClr val="tx2"/>
                </a:solidFill>
                <a:latin typeface="+mn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Haga clic para editar el patrón </a:t>
            </a:r>
            <a:br>
              <a:rPr lang="es-ES" noProof="0"/>
            </a:br>
            <a:r>
              <a:rPr lang="es-ES" noProof="0"/>
              <a:t>estilos de texto</a:t>
            </a:r>
          </a:p>
        </p:txBody>
      </p:sp>
      <p:sp>
        <p:nvSpPr>
          <p:cNvPr id="37" name="Marcador de texto 30">
            <a:extLst>
              <a:ext uri="{FF2B5EF4-FFF2-40B4-BE49-F238E27FC236}">
                <a16:creationId xmlns:a16="http://schemas.microsoft.com/office/drawing/2014/main" id="{2D435A30-7C8E-4847-B027-91CBFA159229}"/>
              </a:ext>
            </a:extLst>
          </p:cNvPr>
          <p:cNvSpPr>
            <a:spLocks noGrp="1"/>
          </p:cNvSpPr>
          <p:nvPr>
            <p:ph type="body" sz="quarter" idx="17" hasCustomPrompt="1"/>
          </p:nvPr>
        </p:nvSpPr>
        <p:spPr>
          <a:xfrm>
            <a:off x="890774" y="101825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 dirty="0"/>
              <a:t>1</a:t>
            </a:r>
          </a:p>
        </p:txBody>
      </p:sp>
      <p:sp>
        <p:nvSpPr>
          <p:cNvPr id="38" name="Marcador de texto 30">
            <a:extLst>
              <a:ext uri="{FF2B5EF4-FFF2-40B4-BE49-F238E27FC236}">
                <a16:creationId xmlns:a16="http://schemas.microsoft.com/office/drawing/2014/main" id="{819BB324-34C6-4FF7-8780-D294AC6EC5AC}"/>
              </a:ext>
            </a:extLst>
          </p:cNvPr>
          <p:cNvSpPr>
            <a:spLocks noGrp="1"/>
          </p:cNvSpPr>
          <p:nvPr>
            <p:ph type="body" sz="quarter" idx="18" hasCustomPrompt="1"/>
          </p:nvPr>
        </p:nvSpPr>
        <p:spPr>
          <a:xfrm>
            <a:off x="890774" y="2094699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2</a:t>
            </a:r>
          </a:p>
        </p:txBody>
      </p:sp>
      <p:sp>
        <p:nvSpPr>
          <p:cNvPr id="39" name="Marcador de texto 30">
            <a:extLst>
              <a:ext uri="{FF2B5EF4-FFF2-40B4-BE49-F238E27FC236}">
                <a16:creationId xmlns:a16="http://schemas.microsoft.com/office/drawing/2014/main" id="{43B3C496-FB0A-4924-A341-696D17E2D9C5}"/>
              </a:ext>
            </a:extLst>
          </p:cNvPr>
          <p:cNvSpPr>
            <a:spLocks noGrp="1"/>
          </p:cNvSpPr>
          <p:nvPr>
            <p:ph type="body" sz="quarter" idx="19" hasCustomPrompt="1"/>
          </p:nvPr>
        </p:nvSpPr>
        <p:spPr>
          <a:xfrm>
            <a:off x="890774" y="317114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3</a:t>
            </a:r>
          </a:p>
        </p:txBody>
      </p:sp>
      <p:sp>
        <p:nvSpPr>
          <p:cNvPr id="40" name="Marcador de texto 30">
            <a:extLst>
              <a:ext uri="{FF2B5EF4-FFF2-40B4-BE49-F238E27FC236}">
                <a16:creationId xmlns:a16="http://schemas.microsoft.com/office/drawing/2014/main" id="{FEACD5FF-800E-4BB0-82F3-2E0AEF1215D5}"/>
              </a:ext>
            </a:extLst>
          </p:cNvPr>
          <p:cNvSpPr>
            <a:spLocks noGrp="1"/>
          </p:cNvSpPr>
          <p:nvPr>
            <p:ph type="body" sz="quarter" idx="20" hasCustomPrompt="1"/>
          </p:nvPr>
        </p:nvSpPr>
        <p:spPr>
          <a:xfrm>
            <a:off x="890774" y="4247589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4</a:t>
            </a:r>
          </a:p>
        </p:txBody>
      </p:sp>
      <p:sp>
        <p:nvSpPr>
          <p:cNvPr id="41" name="Marcador de texto 30">
            <a:extLst>
              <a:ext uri="{FF2B5EF4-FFF2-40B4-BE49-F238E27FC236}">
                <a16:creationId xmlns:a16="http://schemas.microsoft.com/office/drawing/2014/main" id="{58B97284-E1BE-4DCD-9CC1-C441D1A8573A}"/>
              </a:ext>
            </a:extLst>
          </p:cNvPr>
          <p:cNvSpPr>
            <a:spLocks noGrp="1"/>
          </p:cNvSpPr>
          <p:nvPr>
            <p:ph type="body" sz="quarter" idx="21" hasCustomPrompt="1"/>
          </p:nvPr>
        </p:nvSpPr>
        <p:spPr>
          <a:xfrm>
            <a:off x="890774" y="5324034"/>
            <a:ext cx="741082" cy="755650"/>
          </a:xfrm>
        </p:spPr>
        <p:txBody>
          <a:bodyPr rIns="0" rtlCol="0" anchor="ctr">
            <a:noAutofit/>
          </a:bodyPr>
          <a:lstStyle>
            <a:lvl1pPr marL="0" indent="0" algn="r">
              <a:buNone/>
              <a:defRPr sz="5400">
                <a:solidFill>
                  <a:schemeClr val="bg1"/>
                </a:solidFill>
                <a:latin typeface="+mj-lt"/>
                <a:cs typeface="Arial" panose="020B0604020202020204" pitchFamily="34" charset="0"/>
              </a:defRPr>
            </a:lvl1pPr>
            <a:lvl2pPr marL="457200" indent="0">
              <a:buNone/>
              <a:defRPr/>
            </a:lvl2pPr>
          </a:lstStyle>
          <a:p>
            <a:pPr lvl="0" rtl="0"/>
            <a:r>
              <a:rPr lang="es-ES" noProof="0"/>
              <a:t>5</a:t>
            </a:r>
          </a:p>
        </p:txBody>
      </p:sp>
      <p:sp>
        <p:nvSpPr>
          <p:cNvPr id="15" name="Título 1">
            <a:extLst>
              <a:ext uri="{FF2B5EF4-FFF2-40B4-BE49-F238E27FC236}">
                <a16:creationId xmlns:a16="http://schemas.microsoft.com/office/drawing/2014/main" id="{408AC775-D0E4-4AE8-B104-8AF0CC99549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826626" y="3727361"/>
            <a:ext cx="3297699" cy="1025525"/>
          </a:xfrm>
          <a:noFill/>
        </p:spPr>
        <p:txBody>
          <a:bodyPr vert="horz" lIns="0" tIns="45720" rIns="91440" bIns="0" rtlCol="0" anchor="b">
            <a:noAutofit/>
          </a:bodyPr>
          <a:lstStyle>
            <a:lvl1pPr>
              <a:defRPr lang="en-US" sz="4400" b="1">
                <a:solidFill>
                  <a:schemeClr val="tx2"/>
                </a:solidFill>
                <a:latin typeface="+mj-lt"/>
              </a:defRPr>
            </a:lvl1pPr>
          </a:lstStyle>
          <a:p>
            <a:pPr marL="0" lvl="0" rtl="0"/>
            <a:r>
              <a:rPr lang="es-ES" noProof="0"/>
              <a:t>Agenda</a:t>
            </a:r>
          </a:p>
        </p:txBody>
      </p:sp>
      <p:sp>
        <p:nvSpPr>
          <p:cNvPr id="16" name="Marcador de número de diapositiva 10">
            <a:extLst>
              <a:ext uri="{FF2B5EF4-FFF2-40B4-BE49-F238E27FC236}">
                <a16:creationId xmlns:a16="http://schemas.microsoft.com/office/drawing/2014/main" id="{488783CB-6A5F-4E93-A650-164CE3E4510A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800" y="6410854"/>
            <a:ext cx="681182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9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392BB3E-39C2-4BAD-AFD3-A66C4E6B6B9E}" type="slidenum">
              <a:rPr lang="es-MX" smtClean="0"/>
              <a:pPr/>
              <a:t>‹Nº›</a:t>
            </a:fld>
            <a:endParaRPr lang="es-MX" dirty="0"/>
          </a:p>
        </p:txBody>
      </p:sp>
      <p:sp>
        <p:nvSpPr>
          <p:cNvPr id="5" name="Footer Placeholder 4">
            <a:extLst>
              <a:ext uri="{FF2B5EF4-FFF2-40B4-BE49-F238E27FC236}">
                <a16:creationId xmlns:a16="http://schemas.microsoft.com/office/drawing/2014/main" id="{5E1EA4B6-8ED7-5347-E0CE-DB2438AC29AF}"/>
              </a:ext>
            </a:extLst>
          </p:cNvPr>
          <p:cNvSpPr txBox="1">
            <a:spLocks/>
          </p:cNvSpPr>
          <p:nvPr userDrawn="1"/>
        </p:nvSpPr>
        <p:spPr>
          <a:xfrm>
            <a:off x="5180577" y="6608127"/>
            <a:ext cx="7011423" cy="24938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NTT DATA © 2023</a:t>
            </a:r>
          </a:p>
        </p:txBody>
      </p:sp>
      <p:pic>
        <p:nvPicPr>
          <p:cNvPr id="6" name="Imagen 5" descr="Logotipo, Icono&#10;&#10;Descripción generada automáticamente">
            <a:extLst>
              <a:ext uri="{FF2B5EF4-FFF2-40B4-BE49-F238E27FC236}">
                <a16:creationId xmlns:a16="http://schemas.microsoft.com/office/drawing/2014/main" id="{9B9DBBB8-3830-512E-CD36-2B2D62614BAA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0861412" y="6626633"/>
            <a:ext cx="20545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002666899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ítulo y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/>
        <p:txBody>
          <a:bodyPr/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FD10FF33-6F33-4AC4-B6A5-4F422A5ABB22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EFEC0C4A-1261-CCC5-E689-2EAFB354DCD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134937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EFEC0C4A-1261-CCC5-E689-2EAFB354DCD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641277075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Encabezado de sec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03504" y="767419"/>
            <a:ext cx="10780776" cy="3355848"/>
          </a:xfrm>
        </p:spPr>
        <p:txBody>
          <a:bodyPr anchor="b">
            <a:normAutofit/>
          </a:bodyPr>
          <a:lstStyle>
            <a:lvl1pPr>
              <a:lnSpc>
                <a:spcPct val="80000"/>
              </a:lnSpc>
              <a:defRPr sz="8800" b="0" baseline="0">
                <a:solidFill>
                  <a:schemeClr val="accent1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67512" y="4204209"/>
            <a:ext cx="9226296" cy="1645920"/>
          </a:xfrm>
        </p:spPr>
        <p:txBody>
          <a:bodyPr anchor="t">
            <a:normAutofit/>
          </a:bodyPr>
          <a:lstStyle>
            <a:lvl1pPr marL="0" indent="0">
              <a:buNone/>
              <a:defRPr sz="3200">
                <a:solidFill>
                  <a:schemeClr val="tx1"/>
                </a:solidFill>
                <a:latin typeface="+mj-lt"/>
              </a:defRPr>
            </a:lvl1pPr>
            <a:lvl2pPr marL="4572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4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5586B75A-687E-405C-8A0B-8D00578BA2C3}" type="datetimeFigureOut">
              <a:rPr lang="en-US" smtClean="0"/>
              <a:pPr/>
              <a:t>1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311EE4EE-7C65-93AD-EB94-46B49DC594F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96601620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311EE4EE-7C65-93AD-EB94-46B49DC594F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Footer Placeholder 4">
            <a:extLst>
              <a:ext uri="{FF2B5EF4-FFF2-40B4-BE49-F238E27FC236}">
                <a16:creationId xmlns:a16="http://schemas.microsoft.com/office/drawing/2014/main" id="{A6FE315D-3084-3ED9-E889-3CBA543C067C}"/>
              </a:ext>
            </a:extLst>
          </p:cNvPr>
          <p:cNvSpPr txBox="1">
            <a:spLocks/>
          </p:cNvSpPr>
          <p:nvPr userDrawn="1"/>
        </p:nvSpPr>
        <p:spPr>
          <a:xfrm>
            <a:off x="4036441" y="6608127"/>
            <a:ext cx="7011423" cy="24938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NTT DATA © 2023</a:t>
            </a:r>
          </a:p>
        </p:txBody>
      </p:sp>
      <p:pic>
        <p:nvPicPr>
          <p:cNvPr id="9" name="Imagen 8" descr="Logotipo, Icono&#10;&#10;Descripción generada automáticamente">
            <a:extLst>
              <a:ext uri="{FF2B5EF4-FFF2-40B4-BE49-F238E27FC236}">
                <a16:creationId xmlns:a16="http://schemas.microsoft.com/office/drawing/2014/main" id="{41E256D5-FFC0-F1AD-538A-72B30A0774BB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0985872" y="6626633"/>
            <a:ext cx="205459" cy="214446"/>
          </a:xfrm>
          <a:prstGeom prst="rect">
            <a:avLst/>
          </a:prstGeom>
        </p:spPr>
      </p:pic>
      <p:sp>
        <p:nvSpPr>
          <p:cNvPr id="10" name="Rectángulo 9">
            <a:extLst>
              <a:ext uri="{FF2B5EF4-FFF2-40B4-BE49-F238E27FC236}">
                <a16:creationId xmlns:a16="http://schemas.microsoft.com/office/drawing/2014/main" id="{E2FFABD8-E3C5-6935-0C81-258915ED3694}"/>
              </a:ext>
            </a:extLst>
          </p:cNvPr>
          <p:cNvSpPr/>
          <p:nvPr userDrawn="1"/>
        </p:nvSpPr>
        <p:spPr>
          <a:xfrm>
            <a:off x="0" y="6850800"/>
            <a:ext cx="10972800" cy="720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</p:spTree>
    <p:extLst>
      <p:ext uri="{BB962C8B-B14F-4D97-AF65-F5344CB8AC3E}">
        <p14:creationId xmlns:p14="http://schemas.microsoft.com/office/powerpoint/2010/main" val="2104713796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Dos objeto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sz="half" idx="1"/>
          </p:nvPr>
        </p:nvSpPr>
        <p:spPr>
          <a:xfrm>
            <a:off x="676656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011330" y="1998134"/>
            <a:ext cx="4663440" cy="3767328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6D9E2F6-9F4F-40E9-B9A5-CCAB09FF2F3B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93C87C19-9D1D-517E-4476-6EE4883F2B8D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6731190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93C87C19-9D1D-517E-4476-6EE4883F2B8D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3174711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ació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0" name="Title 9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40467"/>
            <a:ext cx="4663440" cy="723400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4" name="Content Placeholder 3"/>
          <p:cNvSpPr>
            <a:spLocks noGrp="1"/>
          </p:cNvSpPr>
          <p:nvPr>
            <p:ph sz="half" idx="2"/>
          </p:nvPr>
        </p:nvSpPr>
        <p:spPr>
          <a:xfrm>
            <a:off x="676656" y="2753084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5" name="Text Placeholder 4"/>
          <p:cNvSpPr>
            <a:spLocks noGrp="1"/>
          </p:cNvSpPr>
          <p:nvPr>
            <p:ph type="body" sz="quarter" idx="3"/>
          </p:nvPr>
        </p:nvSpPr>
        <p:spPr>
          <a:xfrm>
            <a:off x="6007608" y="2038435"/>
            <a:ext cx="4663440" cy="722376"/>
          </a:xfrm>
        </p:spPr>
        <p:txBody>
          <a:bodyPr anchor="ctr">
            <a:normAutofit/>
          </a:bodyPr>
          <a:lstStyle>
            <a:lvl1pPr marL="0" indent="0">
              <a:buNone/>
              <a:defRPr sz="2200" b="0" cap="all" baseline="0">
                <a:solidFill>
                  <a:schemeClr val="tx1">
                    <a:lumMod val="85000"/>
                    <a:lumOff val="15000"/>
                  </a:schemeClr>
                </a:solidFill>
                <a:latin typeface="+mj-lt"/>
              </a:defRPr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6" name="Content Placeholder 5"/>
          <p:cNvSpPr>
            <a:spLocks noGrp="1"/>
          </p:cNvSpPr>
          <p:nvPr>
            <p:ph sz="quarter" idx="4"/>
          </p:nvPr>
        </p:nvSpPr>
        <p:spPr>
          <a:xfrm>
            <a:off x="6007608" y="2750990"/>
            <a:ext cx="4663440" cy="3200400"/>
          </a:xfrm>
        </p:spPr>
        <p:txBody>
          <a:bodyPr/>
          <a:lstStyle>
            <a:lvl1pPr>
              <a:defRPr sz="2400"/>
            </a:lvl1pPr>
            <a:lvl2pPr>
              <a:defRPr sz="2000"/>
            </a:lvl2pPr>
            <a:lvl3pPr>
              <a:defRPr sz="1800"/>
            </a:lvl3pPr>
            <a:lvl4pPr>
              <a:defRPr sz="1600"/>
            </a:lvl4pPr>
            <a:lvl5pPr>
              <a:defRPr sz="1600"/>
            </a:lvl5pPr>
            <a:lvl6pPr>
              <a:defRPr sz="1600"/>
            </a:lvl6pPr>
            <a:lvl7pPr>
              <a:defRPr sz="1600"/>
            </a:lvl7pPr>
            <a:lvl8pPr>
              <a:defRPr sz="1600"/>
            </a:lvl8pPr>
            <a:lvl9pPr>
              <a:defRPr sz="16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7" name="Date Placeholder 6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64F88266-A9B9-4850-BD13-5135DFC44F5E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8" name="Footer Placeholder 7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9" name="Slide Number Placeholder 8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450FF4CD-8504-CE56-53C6-55531DE6249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41425778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450FF4CD-8504-CE56-53C6-55531DE6249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311448083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Solo el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Title 5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B2E4CEDD-8674-4763-B5EF-C07B08CA662B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2" name="Objeto 1" hidden="1">
            <a:extLst>
              <a:ext uri="{FF2B5EF4-FFF2-40B4-BE49-F238E27FC236}">
                <a16:creationId xmlns:a16="http://schemas.microsoft.com/office/drawing/2014/main" id="{0F85B324-6262-4CE1-FCA7-B59447329FEF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2514429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2" name="Objeto 1" hidden="1">
                        <a:extLst>
                          <a:ext uri="{FF2B5EF4-FFF2-40B4-BE49-F238E27FC236}">
                            <a16:creationId xmlns:a16="http://schemas.microsoft.com/office/drawing/2014/main" id="{0F85B324-6262-4CE1-FCA7-B59447329FEF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805019879"/>
      </p:ext>
    </p:extLst>
  </p:cSld>
  <p:clrMapOvr>
    <a:masterClrMapping/>
  </p:clrMapOvr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En blanc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Date Placeholder 1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DDF5F92-E675-4B36-9A60-69A962A68675}" type="datetimeFigureOut">
              <a:rPr lang="en-US" smtClean="0"/>
              <a:t>1/29/2024</a:t>
            </a:fld>
            <a:endParaRPr lang="en-US" dirty="0"/>
          </a:p>
        </p:txBody>
      </p:sp>
      <p:sp>
        <p:nvSpPr>
          <p:cNvPr id="3" name="Footer Placeholder 2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4FAB73BC-B049-4115-A692-8D63A059BFB8}" type="slidenum">
              <a:rPr lang="en-US" smtClean="0"/>
              <a:t>‹Nº›</a:t>
            </a:fld>
            <a:endParaRPr lang="en-US" dirty="0"/>
          </a:p>
        </p:txBody>
      </p:sp>
      <p:sp>
        <p:nvSpPr>
          <p:cNvPr id="5" name="Rectángulo 4">
            <a:extLst>
              <a:ext uri="{FF2B5EF4-FFF2-40B4-BE49-F238E27FC236}">
                <a16:creationId xmlns:a16="http://schemas.microsoft.com/office/drawing/2014/main" id="{191D8927-F970-173E-FA2E-20AD21025E8A}"/>
              </a:ext>
            </a:extLst>
          </p:cNvPr>
          <p:cNvSpPr/>
          <p:nvPr userDrawn="1"/>
        </p:nvSpPr>
        <p:spPr>
          <a:xfrm>
            <a:off x="0" y="6614160"/>
            <a:ext cx="12192000" cy="243840"/>
          </a:xfrm>
          <a:prstGeom prst="rect">
            <a:avLst/>
          </a:prstGeom>
          <a:solidFill>
            <a:srgbClr val="FFC000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s-MX" dirty="0"/>
          </a:p>
        </p:txBody>
      </p:sp>
      <p:sp>
        <p:nvSpPr>
          <p:cNvPr id="6" name="Footer Placeholder 4">
            <a:extLst>
              <a:ext uri="{FF2B5EF4-FFF2-40B4-BE49-F238E27FC236}">
                <a16:creationId xmlns:a16="http://schemas.microsoft.com/office/drawing/2014/main" id="{0C980145-C40A-8B43-3427-AAF3BCBC3DEE}"/>
              </a:ext>
            </a:extLst>
          </p:cNvPr>
          <p:cNvSpPr txBox="1">
            <a:spLocks/>
          </p:cNvSpPr>
          <p:nvPr userDrawn="1"/>
        </p:nvSpPr>
        <p:spPr>
          <a:xfrm>
            <a:off x="5180577" y="6608127"/>
            <a:ext cx="7011423" cy="249385"/>
          </a:xfrm>
          <a:prstGeom prst="rect">
            <a:avLst/>
          </a:prstGeom>
        </p:spPr>
        <p:txBody>
          <a:bodyPr anchor="ctr"/>
          <a:lstStyle>
            <a:defPPr>
              <a:defRPr lang="pt-BR"/>
            </a:defPPr>
            <a:lvl1pPr marL="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r>
              <a:rPr lang="en-US" sz="1000" b="1" dirty="0">
                <a:solidFill>
                  <a:schemeClr val="tx1">
                    <a:lumMod val="50000"/>
                    <a:lumOff val="50000"/>
                  </a:schemeClr>
                </a:solidFill>
                <a:latin typeface="Century Gothic" panose="020B0502020202020204" pitchFamily="34" charset="0"/>
              </a:rPr>
              <a:t>NTT DATA © 2023</a:t>
            </a:r>
          </a:p>
        </p:txBody>
      </p:sp>
      <p:pic>
        <p:nvPicPr>
          <p:cNvPr id="7" name="Imagen 6" descr="Logotipo, Icono&#10;&#10;Descripción generada automáticamente">
            <a:extLst>
              <a:ext uri="{FF2B5EF4-FFF2-40B4-BE49-F238E27FC236}">
                <a16:creationId xmlns:a16="http://schemas.microsoft.com/office/drawing/2014/main" id="{C5E7E4F7-375F-1DF3-EF5F-369303EA46F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2">
            <a:biLevel thresh="50000"/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23910" t="26970" r="24103" b="24660"/>
          <a:stretch/>
        </p:blipFill>
        <p:spPr>
          <a:xfrm>
            <a:off x="10861412" y="6626633"/>
            <a:ext cx="205459" cy="21444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0487474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ido con títul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/>
        </p:nvSpPr>
        <p:spPr>
          <a:xfrm>
            <a:off x="7620000" y="0"/>
            <a:ext cx="4572000" cy="6858000"/>
          </a:xfrm>
          <a:prstGeom prst="rect">
            <a:avLst/>
          </a:prstGeom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</p:sp>
      <p:sp>
        <p:nvSpPr>
          <p:cNvPr id="9" name="Title 8"/>
          <p:cNvSpPr>
            <a:spLocks noGrp="1"/>
          </p:cNvSpPr>
          <p:nvPr>
            <p:ph type="title"/>
          </p:nvPr>
        </p:nvSpPr>
        <p:spPr>
          <a:xfrm>
            <a:off x="8261404" y="542282"/>
            <a:ext cx="3383280" cy="1920240"/>
          </a:xfrm>
        </p:spPr>
        <p:txBody>
          <a:bodyPr anchor="b">
            <a:noAutofit/>
          </a:bodyPr>
          <a:lstStyle>
            <a:lvl1pPr>
              <a:lnSpc>
                <a:spcPct val="85000"/>
              </a:lnSpc>
              <a:defRPr sz="400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62000" y="762000"/>
            <a:ext cx="6096000" cy="4572000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8275982" y="2511813"/>
            <a:ext cx="3398520" cy="3126987"/>
          </a:xfrm>
        </p:spPr>
        <p:txBody>
          <a:bodyPr>
            <a:normAutofit/>
          </a:bodyPr>
          <a:lstStyle>
            <a:lvl1pPr marL="0" marR="0" indent="0" algn="l" defTabSz="914400" rtl="0" eaLnBrk="1" fontAlgn="auto" latinLnBrk="0" hangingPunct="1">
              <a:lnSpc>
                <a:spcPct val="100000"/>
              </a:lnSpc>
              <a:spcBef>
                <a:spcPts val="1200"/>
              </a:spcBef>
              <a:spcAft>
                <a:spcPts val="0"/>
              </a:spcAft>
              <a:buClrTx/>
              <a:buSzTx/>
              <a:buFontTx/>
              <a:buNone/>
              <a:tabLst/>
              <a:defRPr sz="18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marL="0" marR="0" lvl="0" indent="0" algn="l" defTabSz="914400" rtl="0" eaLnBrk="1" fontAlgn="auto" latinLnBrk="0" hangingPunct="1">
              <a:lnSpc>
                <a:spcPct val="100000"/>
              </a:lnSpc>
              <a:spcBef>
                <a:spcPts val="140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lang="es-ES"/>
              <a:t>Haga clic para modificar los estilos de texto del patrón</a:t>
            </a:r>
          </a:p>
        </p:txBody>
      </p:sp>
      <p:sp>
        <p:nvSpPr>
          <p:cNvPr id="5" name="Date Placeholder 4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700605A7-DEA3-4E9C-91E9-4B901539C431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es-MX" dirty="0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0000"/>
                  </a:srgbClr>
                </a:solidFill>
              </a:defRPr>
            </a:lvl1pPr>
          </a:lstStyle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8" name="Objeto 7" hidden="1">
            <a:extLst>
              <a:ext uri="{FF2B5EF4-FFF2-40B4-BE49-F238E27FC236}">
                <a16:creationId xmlns:a16="http://schemas.microsoft.com/office/drawing/2014/main" id="{5FA1C7C3-7356-512C-B62C-07E5104B4E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00547751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8" name="Objeto 7" hidden="1">
                        <a:extLst>
                          <a:ext uri="{FF2B5EF4-FFF2-40B4-BE49-F238E27FC236}">
                            <a16:creationId xmlns:a16="http://schemas.microsoft.com/office/drawing/2014/main" id="{5FA1C7C3-7356-512C-B62C-07E5104B4E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62458689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Imagen con título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49224" y="5418667"/>
            <a:ext cx="10780776" cy="613283"/>
          </a:xfrm>
        </p:spPr>
        <p:txBody>
          <a:bodyPr anchor="b">
            <a:normAutofit/>
          </a:bodyPr>
          <a:lstStyle>
            <a:lvl1pPr>
              <a:defRPr sz="3200" b="0">
                <a:solidFill>
                  <a:srgbClr val="FFFFFF"/>
                </a:solidFill>
              </a:defRPr>
            </a:lvl1pPr>
          </a:lstStyle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Picture Placeholder 2"/>
          <p:cNvSpPr>
            <a:spLocks noGrp="1" noChangeAspect="1"/>
          </p:cNvSpPr>
          <p:nvPr>
            <p:ph type="pic" idx="1"/>
          </p:nvPr>
        </p:nvSpPr>
        <p:spPr>
          <a:xfrm>
            <a:off x="0" y="0"/>
            <a:ext cx="12192000" cy="5330952"/>
          </a:xfrm>
          <a:solidFill>
            <a:schemeClr val="accent1">
              <a:lumMod val="40000"/>
              <a:lumOff val="60000"/>
            </a:schemeClr>
          </a:solidFill>
        </p:spPr>
        <p:txBody>
          <a:bodyPr anchor="t"/>
          <a:lstStyle>
            <a:lvl1pPr marL="0" indent="0" algn="ctr">
              <a:spcBef>
                <a:spcPts val="800"/>
              </a:spcBef>
              <a:buNone/>
              <a:defRPr sz="3200"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r>
              <a:rPr lang="es-ES"/>
              <a:t>Haga clic en el icono para agregar una imagen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half" idx="2"/>
          </p:nvPr>
        </p:nvSpPr>
        <p:spPr>
          <a:xfrm>
            <a:off x="676656" y="5909735"/>
            <a:ext cx="9229344" cy="533400"/>
          </a:xfrm>
        </p:spPr>
        <p:txBody>
          <a:bodyPr>
            <a:normAutofit/>
          </a:bodyPr>
          <a:lstStyle>
            <a:lvl1pPr marL="0" indent="0">
              <a:lnSpc>
                <a:spcPct val="90000"/>
              </a:lnSpc>
              <a:buNone/>
              <a:defRPr sz="1400">
                <a:solidFill>
                  <a:srgbClr val="262626"/>
                </a:solidFill>
              </a:defRPr>
            </a:lvl1pPr>
            <a:lvl2pPr marL="457200" indent="0">
              <a:buNone/>
              <a:defRPr sz="1200"/>
            </a:lvl2pPr>
            <a:lvl3pPr marL="914400" indent="0">
              <a:buNone/>
              <a:defRPr sz="1000"/>
            </a:lvl3pPr>
            <a:lvl4pPr marL="1371600" indent="0">
              <a:buNone/>
              <a:defRPr sz="900"/>
            </a:lvl4pPr>
            <a:lvl5pPr marL="1828800" indent="0">
              <a:buNone/>
              <a:defRPr sz="900"/>
            </a:lvl5pPr>
            <a:lvl6pPr marL="2286000" indent="0">
              <a:buNone/>
              <a:defRPr sz="900"/>
            </a:lvl6pPr>
            <a:lvl7pPr marL="2743200" indent="0">
              <a:buNone/>
              <a:defRPr sz="900"/>
            </a:lvl7pPr>
            <a:lvl8pPr marL="3200400" indent="0">
              <a:buNone/>
              <a:defRPr sz="900"/>
            </a:lvl8pPr>
            <a:lvl9pPr marL="3657600" indent="0">
              <a:buNone/>
              <a:defRPr sz="900"/>
            </a:lvl9pPr>
          </a:lstStyle>
          <a:p>
            <a:pPr lvl="0"/>
            <a:r>
              <a:rPr lang="es-ES"/>
              <a:t>Haga clic para modificar los estilos de texto del patrón</a:t>
            </a:r>
          </a:p>
        </p:txBody>
      </p:sp>
      <p:sp>
        <p:nvSpPr>
          <p:cNvPr id="12" name="Date Placeholder 11"/>
          <p:cNvSpPr>
            <a:spLocks noGrp="1"/>
          </p:cNvSpPr>
          <p:nvPr>
            <p:ph type="dt" sz="half" idx="10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fld id="{4BFE3FF2-C317-4ECC-8C57-1C85EF925154}" type="datetime1">
              <a:rPr lang="es-MX" smtClean="0"/>
              <a:t>29/01/2024</a:t>
            </a:fld>
            <a:endParaRPr lang="es-MX" dirty="0"/>
          </a:p>
        </p:txBody>
      </p:sp>
      <p:sp>
        <p:nvSpPr>
          <p:cNvPr id="13" name="Footer Placeholder 12"/>
          <p:cNvSpPr>
            <a:spLocks noGrp="1"/>
          </p:cNvSpPr>
          <p:nvPr>
            <p:ph type="ftr" sz="quarter" idx="11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80000"/>
                  </a:srgbClr>
                </a:solidFill>
              </a:defRPr>
            </a:lvl1pPr>
          </a:lstStyle>
          <a:p>
            <a:endParaRPr lang="es-MX" dirty="0"/>
          </a:p>
        </p:txBody>
      </p:sp>
      <p:sp>
        <p:nvSpPr>
          <p:cNvPr id="14" name="Slide Number Placeholder 13"/>
          <p:cNvSpPr>
            <a:spLocks noGrp="1"/>
          </p:cNvSpPr>
          <p:nvPr>
            <p:ph type="sldNum" sz="quarter" idx="12"/>
          </p:nvPr>
        </p:nvSpPr>
        <p:spPr/>
        <p:txBody>
          <a:bodyPr/>
          <a:lstStyle>
            <a:lvl1pPr>
              <a:defRPr>
                <a:solidFill>
                  <a:srgbClr val="FFFFFF">
                    <a:alpha val="25000"/>
                  </a:srgbClr>
                </a:solidFill>
              </a:defRPr>
            </a:lvl1pPr>
          </a:lstStyle>
          <a:p>
            <a:fld id="{03FADA18-3E60-4CB7-92DE-40F19C1DE7DE}" type="slidenum">
              <a:rPr lang="es-MX" smtClean="0"/>
              <a:t>‹Nº›</a:t>
            </a:fld>
            <a:endParaRPr lang="es-MX" dirty="0"/>
          </a:p>
        </p:txBody>
      </p:sp>
      <p:graphicFrame>
        <p:nvGraphicFramePr>
          <p:cNvPr id="5" name="Objeto 4" hidden="1">
            <a:extLst>
              <a:ext uri="{FF2B5EF4-FFF2-40B4-BE49-F238E27FC236}">
                <a16:creationId xmlns:a16="http://schemas.microsoft.com/office/drawing/2014/main" id="{8C4822C7-1468-802A-A877-3107333ECF5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725083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5" name="Objeto 4" hidden="1">
                        <a:extLst>
                          <a:ext uri="{FF2B5EF4-FFF2-40B4-BE49-F238E27FC236}">
                            <a16:creationId xmlns:a16="http://schemas.microsoft.com/office/drawing/2014/main" id="{8C4822C7-1468-802A-A877-3107333ECF5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1781718370"/>
      </p:ext>
    </p:extLst>
  </p:cSld>
  <p:clrMapOvr>
    <a:overrideClrMapping bg1="lt1" tx1="dk1" bg2="lt2" tx2="dk2" accent1="accent1" accent2="accent2" accent3="accent3" accent4="accent4" accent5="accent5" accent6="accent6" hlink="hlink" folHlink="folHlink"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theme" Target="../theme/theme1.xml"/><Relationship Id="rId3" Type="http://schemas.openxmlformats.org/officeDocument/2006/relationships/slideLayout" Target="../slideLayouts/slideLayout3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2" Type="http://schemas.openxmlformats.org/officeDocument/2006/relationships/slideLayout" Target="../slideLayouts/slideLayout2.xml"/><Relationship Id="rId16" Type="http://schemas.openxmlformats.org/officeDocument/2006/relationships/image" Target="../media/image1.emf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5" Type="http://schemas.openxmlformats.org/officeDocument/2006/relationships/slideLayout" Target="../slideLayouts/slideLayout5.xml"/><Relationship Id="rId15" Type="http://schemas.openxmlformats.org/officeDocument/2006/relationships/oleObject" Target="../embeddings/oleObject1.bin"/><Relationship Id="rId10" Type="http://schemas.openxmlformats.org/officeDocument/2006/relationships/slideLayout" Target="../slideLayouts/slideLayout10.xml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tags" Target="../tags/tag2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57224" y="499533"/>
            <a:ext cx="10772775" cy="1658198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s-ES"/>
              <a:t>Haga clic para modificar el estilo de título del patrón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76656" y="2011680"/>
            <a:ext cx="10753725" cy="3766185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s-ES"/>
              <a:t>Haga clic para modificar los estilos de texto del patrón</a:t>
            </a:r>
          </a:p>
          <a:p>
            <a:pPr lvl="1"/>
            <a:r>
              <a:rPr lang="es-ES"/>
              <a:t>Segundo nivel</a:t>
            </a:r>
          </a:p>
          <a:p>
            <a:pPr lvl="2"/>
            <a:r>
              <a:rPr lang="es-ES"/>
              <a:t>Tercer nivel</a:t>
            </a:r>
          </a:p>
          <a:p>
            <a:pPr lvl="3"/>
            <a:r>
              <a:rPr lang="es-ES"/>
              <a:t>Cuarto nivel</a:t>
            </a:r>
          </a:p>
          <a:p>
            <a:pPr lvl="4"/>
            <a:r>
              <a:rPr lang="es-ES"/>
              <a:t>Quinto nivel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85800" y="6412447"/>
            <a:ext cx="41148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fld id="{5586B75A-687E-405C-8A0B-8D00578BA2C3}" type="datetimeFigureOut">
              <a:rPr lang="en-US" smtClean="0"/>
              <a:pPr/>
              <a:t>1/29/2024</a:t>
            </a:fld>
            <a:endParaRPr lang="en-US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685800" y="6554697"/>
            <a:ext cx="5029200" cy="228600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950" cap="all" baseline="0">
                <a:solidFill>
                  <a:schemeClr val="tx1">
                    <a:alpha val="80000"/>
                  </a:schemeClr>
                </a:solidFill>
              </a:defRPr>
            </a:lvl1pPr>
          </a:lstStyle>
          <a:p>
            <a:endParaRPr lang="en-US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8763926" y="5876412"/>
            <a:ext cx="2926080" cy="139703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0300" b="0">
                <a:ln>
                  <a:noFill/>
                </a:ln>
                <a:solidFill>
                  <a:schemeClr val="accent1">
                    <a:alpha val="25000"/>
                  </a:schemeClr>
                </a:solidFill>
                <a:latin typeface="+mj-lt"/>
              </a:defRPr>
            </a:lvl1pPr>
          </a:lstStyle>
          <a:p>
            <a:fld id="{4FAB73BC-B049-4115-A692-8D63A059BFB8}" type="slidenum">
              <a:rPr lang="en-US" smtClean="0"/>
              <a:pPr/>
              <a:t>‹Nº›</a:t>
            </a:fld>
            <a:endParaRPr lang="en-US" dirty="0"/>
          </a:p>
        </p:txBody>
      </p:sp>
      <p:graphicFrame>
        <p:nvGraphicFramePr>
          <p:cNvPr id="7" name="Objeto 6" hidden="1">
            <a:extLst>
              <a:ext uri="{FF2B5EF4-FFF2-40B4-BE49-F238E27FC236}">
                <a16:creationId xmlns:a16="http://schemas.microsoft.com/office/drawing/2014/main" id="{4BE0C2BD-A997-9A13-7A04-3B5D7BE8765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4"/>
            </p:custDataLst>
            <p:extLst>
              <p:ext uri="{D42A27DB-BD31-4B8C-83A1-F6EECF244321}">
                <p14:modId xmlns:p14="http://schemas.microsoft.com/office/powerpoint/2010/main" val="144840816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15" imgW="425" imgH="424" progId="TCLayout.ActiveDocument.1">
                  <p:embed/>
                </p:oleObj>
              </mc:Choice>
              <mc:Fallback>
                <p:oleObj name="Diapositiva de think-cell" r:id="rId15" imgW="425" imgH="424" progId="TCLayout.ActiveDocument.1">
                  <p:embed/>
                  <p:pic>
                    <p:nvPicPr>
                      <p:cNvPr id="7" name="Objeto 6" hidden="1">
                        <a:extLst>
                          <a:ext uri="{FF2B5EF4-FFF2-40B4-BE49-F238E27FC236}">
                            <a16:creationId xmlns:a16="http://schemas.microsoft.com/office/drawing/2014/main" id="{4BE0C2BD-A997-9A13-7A04-3B5D7BE8765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6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1746945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6" r:id="rId1"/>
    <p:sldLayoutId id="2147483677" r:id="rId2"/>
    <p:sldLayoutId id="2147483678" r:id="rId3"/>
    <p:sldLayoutId id="2147483679" r:id="rId4"/>
    <p:sldLayoutId id="2147483680" r:id="rId5"/>
    <p:sldLayoutId id="2147483681" r:id="rId6"/>
    <p:sldLayoutId id="2147483682" r:id="rId7"/>
    <p:sldLayoutId id="2147483683" r:id="rId8"/>
    <p:sldLayoutId id="2147483684" r:id="rId9"/>
    <p:sldLayoutId id="2147483685" r:id="rId10"/>
    <p:sldLayoutId id="2147483686" r:id="rId11"/>
    <p:sldLayoutId id="2147483687" r:id="rId12"/>
  </p:sldLayoutIdLst>
  <p:hf hdr="0" ftr="0" dt="0"/>
  <p:txStyles>
    <p:titleStyle>
      <a:lvl1pPr algn="l" defTabSz="914400" rtl="0" eaLnBrk="1" latinLnBrk="0" hangingPunct="1">
        <a:lnSpc>
          <a:spcPct val="85000"/>
        </a:lnSpc>
        <a:spcBef>
          <a:spcPct val="0"/>
        </a:spcBef>
        <a:buNone/>
        <a:defRPr sz="5400" kern="1200" spc="-120" baseline="0">
          <a:solidFill>
            <a:schemeClr val="accent1"/>
          </a:solidFill>
          <a:latin typeface="+mj-lt"/>
          <a:ea typeface="+mj-ea"/>
          <a:cs typeface="+mj-cs"/>
        </a:defRPr>
      </a:lvl1pPr>
    </p:titleStyle>
    <p:bodyStyle>
      <a:lvl1pPr marL="91440" indent="-91440" algn="l" defTabSz="914400" rtl="0" eaLnBrk="1" latinLnBrk="0" hangingPunct="1">
        <a:lnSpc>
          <a:spcPct val="85000"/>
        </a:lnSpc>
        <a:spcBef>
          <a:spcPts val="13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1pPr>
      <a:lvl2pPr marL="347472" indent="-3429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4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2pPr>
      <a:lvl3pPr marL="548640" indent="-54864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2000" i="1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3pPr>
      <a:lvl4pPr marL="822960" indent="-82296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4pPr>
      <a:lvl5pPr marL="1097280" indent="-109728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5pPr>
      <a:lvl6pPr marL="12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6pPr>
      <a:lvl7pPr marL="14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7pPr>
      <a:lvl8pPr marL="16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8pPr>
      <a:lvl9pPr marL="1800000" indent="-228600" algn="l" defTabSz="914400" rtl="0" eaLnBrk="1" latinLnBrk="0" hangingPunct="1">
        <a:lnSpc>
          <a:spcPct val="85000"/>
        </a:lnSpc>
        <a:spcBef>
          <a:spcPts val="600"/>
        </a:spcBef>
        <a:buFont typeface="Arial" pitchFamily="34" charset="0"/>
        <a:buChar char=" "/>
        <a:defRPr sz="1800" kern="1200">
          <a:solidFill>
            <a:schemeClr val="tx1">
              <a:lumMod val="85000"/>
              <a:lumOff val="15000"/>
            </a:schemeClr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2" Type="http://schemas.openxmlformats.org/officeDocument/2006/relationships/slideLayout" Target="../slideLayouts/slideLayout7.xml"/><Relationship Id="rId1" Type="http://schemas.openxmlformats.org/officeDocument/2006/relationships/tags" Target="../tags/tag14.xml"/><Relationship Id="rId6" Type="http://schemas.openxmlformats.org/officeDocument/2006/relationships/image" Target="../media/image4.png"/><Relationship Id="rId5" Type="http://schemas.openxmlformats.org/officeDocument/2006/relationships/image" Target="../media/image3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2" Type="http://schemas.openxmlformats.org/officeDocument/2006/relationships/slideLayout" Target="../slideLayouts/slideLayout12.xml"/><Relationship Id="rId1" Type="http://schemas.openxmlformats.org/officeDocument/2006/relationships/tags" Target="../tags/tag15.xml"/><Relationship Id="rId6" Type="http://schemas.openxmlformats.org/officeDocument/2006/relationships/image" Target="../media/image6.jpeg"/><Relationship Id="rId5" Type="http://schemas.openxmlformats.org/officeDocument/2006/relationships/image" Target="../media/image5.jpeg"/><Relationship Id="rId4" Type="http://schemas.openxmlformats.org/officeDocument/2006/relationships/image" Target="../media/image1.emf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5" name="Objeto 14" hidden="1">
            <a:extLst>
              <a:ext uri="{FF2B5EF4-FFF2-40B4-BE49-F238E27FC236}">
                <a16:creationId xmlns:a16="http://schemas.microsoft.com/office/drawing/2014/main" id="{E6EE4A68-4612-8858-47C2-9F443B2F320C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15" name="Objeto 14" hidden="1">
                        <a:extLst>
                          <a:ext uri="{FF2B5EF4-FFF2-40B4-BE49-F238E27FC236}">
                            <a16:creationId xmlns:a16="http://schemas.microsoft.com/office/drawing/2014/main" id="{E6EE4A68-4612-8858-47C2-9F443B2F320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Imagen 1">
            <a:extLst>
              <a:ext uri="{FF2B5EF4-FFF2-40B4-BE49-F238E27FC236}">
                <a16:creationId xmlns:a16="http://schemas.microsoft.com/office/drawing/2014/main" id="{C53D3E46-FA83-B3A7-7CB5-FE7AB797D0DC}"/>
              </a:ext>
            </a:extLst>
          </p:cNvPr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698951" y="1471239"/>
            <a:ext cx="10516511" cy="1694835"/>
          </a:xfrm>
          <a:prstGeom prst="rect">
            <a:avLst/>
          </a:prstGeom>
        </p:spPr>
      </p:pic>
      <p:pic>
        <p:nvPicPr>
          <p:cNvPr id="6" name="Imagen 5">
            <a:extLst>
              <a:ext uri="{FF2B5EF4-FFF2-40B4-BE49-F238E27FC236}">
                <a16:creationId xmlns:a16="http://schemas.microsoft.com/office/drawing/2014/main" id="{9FEC7894-5817-0E6D-7DF5-F780D8FAB245}"/>
              </a:ext>
            </a:extLst>
          </p:cNvPr>
          <p:cNvPicPr>
            <a:picLocks noChangeAspect="1"/>
          </p:cNvPicPr>
          <p:nvPr/>
        </p:nvPicPr>
        <p:blipFill>
          <a:blip r:embed="rId6"/>
          <a:stretch>
            <a:fillRect/>
          </a:stretch>
        </p:blipFill>
        <p:spPr>
          <a:xfrm>
            <a:off x="11061642" y="6680191"/>
            <a:ext cx="1130358" cy="177809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098135605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2" name="Objeto 21" hidden="1">
            <a:extLst>
              <a:ext uri="{FF2B5EF4-FFF2-40B4-BE49-F238E27FC236}">
                <a16:creationId xmlns:a16="http://schemas.microsoft.com/office/drawing/2014/main" id="{8F363F26-E424-F19F-4A52-167DB0CE9BA3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68822925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Diapositiva de think-cell" r:id="rId3" imgW="425" imgH="424" progId="TCLayout.ActiveDocument.1">
                  <p:embed/>
                </p:oleObj>
              </mc:Choice>
              <mc:Fallback>
                <p:oleObj name="Diapositiva de think-cell" r:id="rId3" imgW="425" imgH="424" progId="TCLayout.ActiveDocument.1">
                  <p:embed/>
                  <p:pic>
                    <p:nvPicPr>
                      <p:cNvPr id="22" name="Objeto 21" hidden="1">
                        <a:extLst>
                          <a:ext uri="{FF2B5EF4-FFF2-40B4-BE49-F238E27FC236}">
                            <a16:creationId xmlns:a16="http://schemas.microsoft.com/office/drawing/2014/main" id="{8F363F26-E424-F19F-4A52-167DB0CE9BA3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1" name="Text Placeholder 2">
            <a:extLst>
              <a:ext uri="{FF2B5EF4-FFF2-40B4-BE49-F238E27FC236}">
                <a16:creationId xmlns:a16="http://schemas.microsoft.com/office/drawing/2014/main" id="{9F80BE57-06F9-4952-67DF-DF1372B49BC4}"/>
              </a:ext>
            </a:extLst>
          </p:cNvPr>
          <p:cNvSpPr>
            <a:spLocks noGrp="1"/>
          </p:cNvSpPr>
          <p:nvPr>
            <p:ph type="body" sz="quarter" idx="11"/>
          </p:nvPr>
        </p:nvSpPr>
        <p:spPr>
          <a:xfrm>
            <a:off x="1818640" y="1325115"/>
            <a:ext cx="1825969" cy="426545"/>
          </a:xfrm>
        </p:spPr>
        <p:txBody>
          <a:bodyPr>
            <a:normAutofit/>
          </a:bodyPr>
          <a:lstStyle/>
          <a:p>
            <a:r>
              <a:rPr lang="es-MX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erfilado</a:t>
            </a:r>
          </a:p>
        </p:txBody>
      </p:sp>
      <p:sp>
        <p:nvSpPr>
          <p:cNvPr id="13" name="Text Placeholder 3">
            <a:extLst>
              <a:ext uri="{FF2B5EF4-FFF2-40B4-BE49-F238E27FC236}">
                <a16:creationId xmlns:a16="http://schemas.microsoft.com/office/drawing/2014/main" id="{14B4B9C3-5044-BAC2-48FA-14CAC75F2DF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18640" y="2345550"/>
            <a:ext cx="1825969" cy="426545"/>
          </a:xfrm>
        </p:spPr>
        <p:txBody>
          <a:bodyPr vert="horz" lIns="91440" tIns="45720" rIns="91440" bIns="45720" rtlCol="0" anchor="ctr">
            <a:normAutofit/>
          </a:bodyPr>
          <a:lstStyle/>
          <a:p>
            <a:pPr>
              <a:spcBef>
                <a:spcPts val="1000"/>
              </a:spcBef>
            </a:pPr>
            <a:r>
              <a:rPr lang="es-MX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ductividad</a:t>
            </a:r>
          </a:p>
        </p:txBody>
      </p:sp>
      <p:sp>
        <p:nvSpPr>
          <p:cNvPr id="21" name="Text Placeholder 7">
            <a:extLst>
              <a:ext uri="{FF2B5EF4-FFF2-40B4-BE49-F238E27FC236}">
                <a16:creationId xmlns:a16="http://schemas.microsoft.com/office/drawing/2014/main" id="{5707C82D-954C-5359-F70E-670D74E641F4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915696" y="-3270"/>
            <a:ext cx="741082" cy="755650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1</a:t>
            </a:r>
          </a:p>
        </p:txBody>
      </p:sp>
      <p:sp>
        <p:nvSpPr>
          <p:cNvPr id="23" name="Text Placeholder 8">
            <a:extLst>
              <a:ext uri="{FF2B5EF4-FFF2-40B4-BE49-F238E27FC236}">
                <a16:creationId xmlns:a16="http://schemas.microsoft.com/office/drawing/2014/main" id="{D2032B16-0B9F-5E6C-E91E-7509D7081F6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915696" y="1147862"/>
            <a:ext cx="741082" cy="755650"/>
          </a:xfrm>
        </p:spPr>
        <p:txBody>
          <a:bodyPr/>
          <a:lstStyle/>
          <a:p>
            <a:r>
              <a:rPr lang="en-US" sz="3200" b="1" dirty="0">
                <a:latin typeface="Century Gothic" panose="020B0502020202020204" pitchFamily="34" charset="0"/>
              </a:rPr>
              <a:t>2</a:t>
            </a:r>
          </a:p>
        </p:txBody>
      </p:sp>
      <p:sp>
        <p:nvSpPr>
          <p:cNvPr id="31" name="Title 12">
            <a:extLst>
              <a:ext uri="{FF2B5EF4-FFF2-40B4-BE49-F238E27FC236}">
                <a16:creationId xmlns:a16="http://schemas.microsoft.com/office/drawing/2014/main" id="{31D7402C-B487-04CA-7BFF-206C2FB094F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-33239" y="3115397"/>
            <a:ext cx="1414795" cy="627206"/>
          </a:xfrm>
        </p:spPr>
        <p:txBody>
          <a:bodyPr vert="horz"/>
          <a:lstStyle/>
          <a:p>
            <a:r>
              <a:rPr lang="es-MX" dirty="0">
                <a:solidFill>
                  <a:schemeClr val="bg1"/>
                </a:solidFill>
                <a:latin typeface="Century Gothic" panose="020B0502020202020204" pitchFamily="34" charset="0"/>
              </a:rPr>
              <a:t>5 P’s</a:t>
            </a:r>
          </a:p>
        </p:txBody>
      </p:sp>
      <p:sp>
        <p:nvSpPr>
          <p:cNvPr id="2" name="Text Placeholder 3">
            <a:extLst>
              <a:ext uri="{FF2B5EF4-FFF2-40B4-BE49-F238E27FC236}">
                <a16:creationId xmlns:a16="http://schemas.microsoft.com/office/drawing/2014/main" id="{FD222F95-49A5-1E2A-E5D4-27C0A085E0CB}"/>
              </a:ext>
            </a:extLst>
          </p:cNvPr>
          <p:cNvSpPr txBox="1">
            <a:spLocks/>
          </p:cNvSpPr>
          <p:nvPr/>
        </p:nvSpPr>
        <p:spPr>
          <a:xfrm>
            <a:off x="1818640" y="3365985"/>
            <a:ext cx="1825969" cy="4265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erformance</a:t>
            </a:r>
          </a:p>
        </p:txBody>
      </p:sp>
      <p:sp>
        <p:nvSpPr>
          <p:cNvPr id="3" name="Text Placeholder 8">
            <a:extLst>
              <a:ext uri="{FF2B5EF4-FFF2-40B4-BE49-F238E27FC236}">
                <a16:creationId xmlns:a16="http://schemas.microsoft.com/office/drawing/2014/main" id="{51D50377-F011-FDB7-7176-6046CE16E07D}"/>
              </a:ext>
            </a:extLst>
          </p:cNvPr>
          <p:cNvSpPr txBox="1">
            <a:spLocks/>
          </p:cNvSpPr>
          <p:nvPr/>
        </p:nvSpPr>
        <p:spPr>
          <a:xfrm>
            <a:off x="915696" y="2231434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>
                <a:latin typeface="Century Gothic" panose="020B0502020202020204" pitchFamily="34" charset="0"/>
              </a:rPr>
              <a:t>3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043D9AEF-F419-15C3-E8F8-F447E48B741A}"/>
              </a:ext>
            </a:extLst>
          </p:cNvPr>
          <p:cNvSpPr txBox="1">
            <a:spLocks/>
          </p:cNvSpPr>
          <p:nvPr/>
        </p:nvSpPr>
        <p:spPr>
          <a:xfrm>
            <a:off x="1818640" y="5682415"/>
            <a:ext cx="1825969" cy="4265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marL="0" indent="0" algn="l" defTabSz="914400" rtl="0" eaLnBrk="1" latinLnBrk="0" hangingPunct="1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s-MX" sz="1800" b="1" dirty="0">
                <a:solidFill>
                  <a:schemeClr val="tx1">
                    <a:lumMod val="65000"/>
                    <a:lumOff val="35000"/>
                  </a:schemeClr>
                </a:solidFill>
                <a:latin typeface="Century Gothic" panose="020B0502020202020204" pitchFamily="34" charset="0"/>
              </a:rPr>
              <a:t>Proyección</a:t>
            </a:r>
          </a:p>
        </p:txBody>
      </p:sp>
      <p:sp>
        <p:nvSpPr>
          <p:cNvPr id="7" name="Text Placeholder 8">
            <a:extLst>
              <a:ext uri="{FF2B5EF4-FFF2-40B4-BE49-F238E27FC236}">
                <a16:creationId xmlns:a16="http://schemas.microsoft.com/office/drawing/2014/main" id="{B69E117F-E267-0A42-AA48-F72FF410E95E}"/>
              </a:ext>
            </a:extLst>
          </p:cNvPr>
          <p:cNvSpPr txBox="1">
            <a:spLocks/>
          </p:cNvSpPr>
          <p:nvPr/>
        </p:nvSpPr>
        <p:spPr>
          <a:xfrm>
            <a:off x="915696" y="3226120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>
                <a:latin typeface="Century Gothic" panose="020B0502020202020204" pitchFamily="34" charset="0"/>
              </a:rPr>
              <a:t>4</a:t>
            </a:r>
          </a:p>
        </p:txBody>
      </p:sp>
      <p:sp>
        <p:nvSpPr>
          <p:cNvPr id="9" name="Text Placeholder 8">
            <a:extLst>
              <a:ext uri="{FF2B5EF4-FFF2-40B4-BE49-F238E27FC236}">
                <a16:creationId xmlns:a16="http://schemas.microsoft.com/office/drawing/2014/main" id="{B795B668-A070-7A40-155C-12875AACE89C}"/>
              </a:ext>
            </a:extLst>
          </p:cNvPr>
          <p:cNvSpPr txBox="1">
            <a:spLocks/>
          </p:cNvSpPr>
          <p:nvPr/>
        </p:nvSpPr>
        <p:spPr>
          <a:xfrm>
            <a:off x="915696" y="5568662"/>
            <a:ext cx="741082" cy="755650"/>
          </a:xfrm>
          <a:prstGeom prst="rect">
            <a:avLst/>
          </a:prstGeom>
        </p:spPr>
        <p:txBody>
          <a:bodyPr vert="horz" lIns="91440" tIns="45720" rIns="0" bIns="45720" rtlCol="0" anchor="ctr">
            <a:noAutofit/>
          </a:bodyPr>
          <a:lstStyle>
            <a:lvl1pPr marL="0" indent="0" algn="r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None/>
              <a:defRPr sz="5400" b="0" i="0" kern="1200">
                <a:solidFill>
                  <a:schemeClr val="bg1"/>
                </a:solidFill>
                <a:latin typeface="+mj-lt"/>
                <a:ea typeface="+mn-ea"/>
                <a:cs typeface="Arial" panose="020B0604020202020204" pitchFamily="34" charset="0"/>
              </a:defRPr>
            </a:lvl1pPr>
            <a:lvl2pPr marL="457200" indent="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18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6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400" b="0" i="0" kern="1200">
                <a:solidFill>
                  <a:schemeClr val="tx2"/>
                </a:solidFill>
                <a:latin typeface="+mn-lt"/>
                <a:ea typeface="+mn-ea"/>
                <a:cs typeface="Arial" panose="020B0604020202020204" pitchFamily="34" charset="0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r>
              <a:rPr lang="en-US" sz="3200" b="1" dirty="0">
                <a:latin typeface="Century Gothic" panose="020B0502020202020204" pitchFamily="34" charset="0"/>
              </a:rPr>
              <a:t>5</a:t>
            </a:r>
          </a:p>
        </p:txBody>
      </p:sp>
      <p:sp>
        <p:nvSpPr>
          <p:cNvPr id="12" name="Text Placeholder 2">
            <a:extLst>
              <a:ext uri="{FF2B5EF4-FFF2-40B4-BE49-F238E27FC236}">
                <a16:creationId xmlns:a16="http://schemas.microsoft.com/office/drawing/2014/main" id="{AD8FC687-59CE-7621-F438-675C074BBDE6}"/>
              </a:ext>
            </a:extLst>
          </p:cNvPr>
          <p:cNvSpPr txBox="1">
            <a:spLocks/>
          </p:cNvSpPr>
          <p:nvPr/>
        </p:nvSpPr>
        <p:spPr>
          <a:xfrm>
            <a:off x="1818640" y="161283"/>
            <a:ext cx="1825969" cy="426545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>
            <a:lvl1pPr indent="0">
              <a:lnSpc>
                <a:spcPct val="90000"/>
              </a:lnSpc>
              <a:spcBef>
                <a:spcPts val="0"/>
              </a:spcBef>
              <a:buFont typeface="Arial" panose="020B0604020202020204" pitchFamily="34" charset="0"/>
              <a:buNone/>
              <a:defRPr b="1">
                <a:solidFill>
                  <a:schemeClr val="tx2"/>
                </a:solidFill>
                <a:latin typeface="Century Gothic" panose="020B0502020202020204" pitchFamily="34" charset="0"/>
                <a:cs typeface="Arial" panose="020B0604020202020204" pitchFamily="34" charset="0"/>
              </a:defRPr>
            </a:lvl1pPr>
            <a:lvl2pPr indent="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None/>
              <a:defRPr sz="2400"/>
            </a:lvl2pPr>
            <a:lvl3pPr marL="1143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2000"/>
            </a:lvl3pPr>
            <a:lvl4pPr marL="1600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4pPr>
            <a:lvl5pPr marL="20574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5pPr>
            <a:lvl6pPr marL="25146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6pPr>
            <a:lvl7pPr marL="29718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7pPr>
            <a:lvl8pPr marL="34290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8pPr>
            <a:lvl9pPr marL="3886200" indent="-228600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</a:lvl9pPr>
          </a:lstStyle>
          <a:p>
            <a:r>
              <a:rPr lang="es-MX" dirty="0">
                <a:solidFill>
                  <a:schemeClr val="tx1">
                    <a:lumMod val="65000"/>
                    <a:lumOff val="35000"/>
                  </a:schemeClr>
                </a:solidFill>
              </a:rPr>
              <a:t>Premios</a:t>
            </a:r>
          </a:p>
        </p:txBody>
      </p:sp>
      <p:pic>
        <p:nvPicPr>
          <p:cNvPr id="34" name="Imagen 33" descr="Imagen que contiene techo, interior, tabla, cuarto&#10;&#10;Descripción generada automáticamente">
            <a:extLst>
              <a:ext uri="{FF2B5EF4-FFF2-40B4-BE49-F238E27FC236}">
                <a16:creationId xmlns:a16="http://schemas.microsoft.com/office/drawing/2014/main" id="{35823A1C-E648-0D28-6419-CFB3A3EB7281}"/>
              </a:ext>
            </a:extLst>
          </p:cNvPr>
          <p:cNvPicPr>
            <a:picLocks noChangeAspect="1"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246" t="-86" r="57657" b="-199"/>
          <a:stretch/>
        </p:blipFill>
        <p:spPr>
          <a:xfrm>
            <a:off x="0" y="0"/>
            <a:ext cx="1277681" cy="3580494"/>
          </a:xfrm>
          <a:prstGeom prst="rect">
            <a:avLst/>
          </a:prstGeom>
        </p:spPr>
      </p:pic>
      <p:pic>
        <p:nvPicPr>
          <p:cNvPr id="36" name="Imagen 35" descr="Un hombre parado en un aeropuerto&#10;&#10;Descripción generada automáticamente">
            <a:extLst>
              <a:ext uri="{FF2B5EF4-FFF2-40B4-BE49-F238E27FC236}">
                <a16:creationId xmlns:a16="http://schemas.microsoft.com/office/drawing/2014/main" id="{84B918F8-9262-1B6E-39AF-B024406804AF}"/>
              </a:ext>
            </a:extLst>
          </p:cNvPr>
          <p:cNvPicPr>
            <a:picLocks noChangeAspect="1"/>
          </p:cNvPicPr>
          <p:nvPr/>
        </p:nvPicPr>
        <p:blipFill rotWithShape="1">
          <a:blip r:embed="rId6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48341" r="25563"/>
          <a:stretch/>
        </p:blipFill>
        <p:spPr>
          <a:xfrm>
            <a:off x="0" y="3565696"/>
            <a:ext cx="1277679" cy="3302848"/>
          </a:xfrm>
          <a:prstGeom prst="rect">
            <a:avLst/>
          </a:prstGeom>
        </p:spPr>
      </p:pic>
      <p:sp>
        <p:nvSpPr>
          <p:cNvPr id="53" name="Rectángulo 52">
            <a:extLst>
              <a:ext uri="{FF2B5EF4-FFF2-40B4-BE49-F238E27FC236}">
                <a16:creationId xmlns:a16="http://schemas.microsoft.com/office/drawing/2014/main" id="{7A25F110-E18F-83B2-4E05-13B7168C3CB9}"/>
              </a:ext>
            </a:extLst>
          </p:cNvPr>
          <p:cNvSpPr/>
          <p:nvPr/>
        </p:nvSpPr>
        <p:spPr>
          <a:xfrm>
            <a:off x="3644609" y="1325115"/>
            <a:ext cx="8460000" cy="9248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Excelencia en Perfilado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 (sumar al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equipo de visual)  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TIENDA A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6:00pm a 6:30pm | 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TIENDA B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: 4:30 a 5:00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 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Maniquíes personalizados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a clientes referentes de tienda en moda democrático (ejemplo  Influencer: Andy Benavides / Mariana Rodriguez)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Prioridad de rolado para pilotos: 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Reporte resurtido + OOS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  <a:sym typeface="Wingdings" panose="05000000000000000000" pitchFamily="2" charset="2"/>
              </a:rPr>
              <a:t>en moda democrático</a:t>
            </a:r>
            <a:endParaRPr lang="es-MX" sz="10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sp>
        <p:nvSpPr>
          <p:cNvPr id="54" name="Rectángulo 53">
            <a:extLst>
              <a:ext uri="{FF2B5EF4-FFF2-40B4-BE49-F238E27FC236}">
                <a16:creationId xmlns:a16="http://schemas.microsoft.com/office/drawing/2014/main" id="{AAEC3362-A4F5-EC7A-A0C1-6B23927744BA}"/>
              </a:ext>
            </a:extLst>
          </p:cNvPr>
          <p:cNvSpPr/>
          <p:nvPr/>
        </p:nvSpPr>
        <p:spPr>
          <a:xfrm>
            <a:off x="3644609" y="2345550"/>
            <a:ext cx="8460000" cy="924876"/>
          </a:xfrm>
          <a:prstGeom prst="rect">
            <a:avLst/>
          </a:prstGeom>
          <a:noFill/>
          <a:ln>
            <a:solidFill>
              <a:srgbClr val="FFC000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>
              <a:spcBef>
                <a:spcPts val="200"/>
              </a:spcBef>
              <a:spcAft>
                <a:spcPts val="200"/>
              </a:spcAft>
            </a:pPr>
            <a:endParaRPr lang="es-ES" sz="1000" b="1" dirty="0">
              <a:solidFill>
                <a:srgbClr val="FFC000"/>
              </a:solidFill>
              <a:latin typeface="Century Gothic" panose="020B0502020202020204" pitchFamily="34" charset="0"/>
            </a:endParaRP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Hands up: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 Identificar 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franjas horarias con mayor área de oportunidad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para generar mejor 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provechamiento del tráfico</a:t>
            </a:r>
          </a:p>
          <a:p>
            <a:pPr marL="742950" lvl="1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A: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4:00pm a 6:00pm </a:t>
            </a:r>
            <a:r>
              <a:rPr lang="es-MX" sz="1050" b="1" dirty="0">
                <a:solidFill>
                  <a:schemeClr val="tx1"/>
                </a:solidFill>
                <a:latin typeface="Century Gothic" panose="020B0502020202020204" pitchFamily="34" charset="0"/>
              </a:rPr>
              <a:t>|</a:t>
            </a: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 B: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5:00pm a 7:00pm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r>
              <a:rPr lang="es-MX" sz="1000" b="1" dirty="0">
                <a:solidFill>
                  <a:schemeClr val="tx1"/>
                </a:solidFill>
                <a:latin typeface="Century Gothic" panose="020B0502020202020204" pitchFamily="34" charset="0"/>
              </a:rPr>
              <a:t>Venta cruzada: </a:t>
            </a:r>
            <a:r>
              <a:rPr lang="es-MX" sz="1000" dirty="0">
                <a:solidFill>
                  <a:schemeClr val="tx1"/>
                </a:solidFill>
                <a:latin typeface="Century Gothic" panose="020B0502020202020204" pitchFamily="34" charset="0"/>
              </a:rPr>
              <a:t>Preparación de la venta + Identificar momentos del cliente + Zonas calientes (probadores, cajas, etc.)</a:t>
            </a:r>
          </a:p>
          <a:p>
            <a:pPr marL="285750" indent="-285750">
              <a:spcBef>
                <a:spcPts val="200"/>
              </a:spcBef>
              <a:spcAft>
                <a:spcPts val="200"/>
              </a:spcAft>
              <a:buFont typeface="Arial" panose="020B0604020202020204" pitchFamily="34" charset="0"/>
              <a:buChar char="•"/>
            </a:pPr>
            <a:endParaRPr lang="es-MX" sz="800" dirty="0">
              <a:solidFill>
                <a:schemeClr val="tx1"/>
              </a:solidFill>
              <a:latin typeface="Century Gothic" panose="020B0502020202020204" pitchFamily="34" charset="0"/>
            </a:endParaRPr>
          </a:p>
        </p:txBody>
      </p:sp>
      <p:grpSp>
        <p:nvGrpSpPr>
          <p:cNvPr id="20" name="Grupo 19">
            <a:extLst>
              <a:ext uri="{FF2B5EF4-FFF2-40B4-BE49-F238E27FC236}">
                <a16:creationId xmlns:a16="http://schemas.microsoft.com/office/drawing/2014/main" id="{48341DD5-E11C-8956-AAD2-3F5339782826}"/>
              </a:ext>
            </a:extLst>
          </p:cNvPr>
          <p:cNvGrpSpPr/>
          <p:nvPr/>
        </p:nvGrpSpPr>
        <p:grpSpPr>
          <a:xfrm>
            <a:off x="3644609" y="157474"/>
            <a:ext cx="8460000" cy="1072082"/>
            <a:chOff x="3644609" y="157474"/>
            <a:chExt cx="8460000" cy="1072082"/>
          </a:xfrm>
        </p:grpSpPr>
        <p:sp>
          <p:nvSpPr>
            <p:cNvPr id="52" name="Rectángulo 51">
              <a:extLst>
                <a:ext uri="{FF2B5EF4-FFF2-40B4-BE49-F238E27FC236}">
                  <a16:creationId xmlns:a16="http://schemas.microsoft.com/office/drawing/2014/main" id="{34A85BE3-4DA6-FA3C-05A6-AE8358224102}"/>
                </a:ext>
              </a:extLst>
            </p:cNvPr>
            <p:cNvSpPr/>
            <p:nvPr/>
          </p:nvSpPr>
          <p:spPr>
            <a:xfrm>
              <a:off x="3644609" y="157474"/>
              <a:ext cx="8460000" cy="1072082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Incentivos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 que motiven al cumplimiento de los objetivos</a:t>
              </a: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.</a:t>
              </a: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  <a:p>
              <a:pPr marL="171450" indent="-1714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8" name="Rectángulo 37">
              <a:extLst>
                <a:ext uri="{FF2B5EF4-FFF2-40B4-BE49-F238E27FC236}">
                  <a16:creationId xmlns:a16="http://schemas.microsoft.com/office/drawing/2014/main" id="{C125520A-D066-DB03-581F-B7365D8C2C1A}"/>
                </a:ext>
              </a:extLst>
            </p:cNvPr>
            <p:cNvSpPr/>
            <p:nvPr/>
          </p:nvSpPr>
          <p:spPr>
            <a:xfrm>
              <a:off x="3809854" y="506487"/>
              <a:ext cx="1989062" cy="6051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5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Si se alcanzan el objetivo de venta de la tienda:</a:t>
              </a:r>
              <a:endParaRPr lang="es-MX" sz="105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58" name="Rectángulo 57">
              <a:extLst>
                <a:ext uri="{FF2B5EF4-FFF2-40B4-BE49-F238E27FC236}">
                  <a16:creationId xmlns:a16="http://schemas.microsoft.com/office/drawing/2014/main" id="{3BF96F08-FF5E-3EE0-E989-F9B15D779DBF}"/>
                </a:ext>
              </a:extLst>
            </p:cNvPr>
            <p:cNvSpPr/>
            <p:nvPr/>
          </p:nvSpPr>
          <p:spPr>
            <a:xfrm>
              <a:off x="7378424" y="506487"/>
              <a:ext cx="4527776" cy="605162"/>
            </a:xfrm>
            <a:prstGeom prst="rect">
              <a:avLst/>
            </a:prstGeom>
            <a:noFill/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Sobrecomisión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grupal del 5% </a:t>
              </a: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a vendedores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Bono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de $1,000 </a:t>
              </a: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a ejecutivos 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Bono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de $250 </a:t>
              </a: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a eficiencia operativa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Bono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de $500 </a:t>
              </a: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operativos de presentación visual</a:t>
              </a:r>
              <a:endParaRPr lang="es-MX" sz="8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grpSp>
          <p:nvGrpSpPr>
            <p:cNvPr id="68" name="Grupo 67">
              <a:extLst>
                <a:ext uri="{FF2B5EF4-FFF2-40B4-BE49-F238E27FC236}">
                  <a16:creationId xmlns:a16="http://schemas.microsoft.com/office/drawing/2014/main" id="{1E98491B-8593-2C6A-0CEF-FBB4C528C5B1}"/>
                </a:ext>
              </a:extLst>
            </p:cNvPr>
            <p:cNvGrpSpPr/>
            <p:nvPr/>
          </p:nvGrpSpPr>
          <p:grpSpPr>
            <a:xfrm>
              <a:off x="6342798" y="581735"/>
              <a:ext cx="425200" cy="454667"/>
              <a:chOff x="6483774" y="506487"/>
              <a:chExt cx="386546" cy="605162"/>
            </a:xfrm>
          </p:grpSpPr>
          <p:sp>
            <p:nvSpPr>
              <p:cNvPr id="59" name="Triángulo isósceles 58">
                <a:extLst>
                  <a:ext uri="{FF2B5EF4-FFF2-40B4-BE49-F238E27FC236}">
                    <a16:creationId xmlns:a16="http://schemas.microsoft.com/office/drawing/2014/main" id="{62101383-E08A-F33F-0658-1BDE48BC894A}"/>
                  </a:ext>
                </a:extLst>
              </p:cNvPr>
              <p:cNvSpPr/>
              <p:nvPr/>
            </p:nvSpPr>
            <p:spPr>
              <a:xfrm rot="5400000">
                <a:off x="6471093" y="712422"/>
                <a:ext cx="605162" cy="193292"/>
              </a:xfrm>
              <a:prstGeom prst="triangle">
                <a:avLst/>
              </a:prstGeom>
              <a:solidFill>
                <a:srgbClr val="FFC409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60" name="Triángulo isósceles 59">
                <a:extLst>
                  <a:ext uri="{FF2B5EF4-FFF2-40B4-BE49-F238E27FC236}">
                    <a16:creationId xmlns:a16="http://schemas.microsoft.com/office/drawing/2014/main" id="{7EBDDCE7-503F-7CA4-8884-F96761286087}"/>
                  </a:ext>
                </a:extLst>
              </p:cNvPr>
              <p:cNvSpPr/>
              <p:nvPr/>
            </p:nvSpPr>
            <p:spPr>
              <a:xfrm rot="5400000">
                <a:off x="6374484" y="712422"/>
                <a:ext cx="605162" cy="193292"/>
              </a:xfrm>
              <a:prstGeom prst="triangle">
                <a:avLst/>
              </a:prstGeom>
              <a:solidFill>
                <a:srgbClr val="FFC409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>
                  <a:latin typeface="Century Gothic" panose="020B0502020202020204" pitchFamily="34" charset="0"/>
                </a:endParaRPr>
              </a:p>
            </p:txBody>
          </p:sp>
          <p:sp>
            <p:nvSpPr>
              <p:cNvPr id="61" name="Triángulo isósceles 60">
                <a:extLst>
                  <a:ext uri="{FF2B5EF4-FFF2-40B4-BE49-F238E27FC236}">
                    <a16:creationId xmlns:a16="http://schemas.microsoft.com/office/drawing/2014/main" id="{86593656-D06B-A7B1-2D7F-94FF8F401EB9}"/>
                  </a:ext>
                </a:extLst>
              </p:cNvPr>
              <p:cNvSpPr/>
              <p:nvPr/>
            </p:nvSpPr>
            <p:spPr>
              <a:xfrm rot="5400000">
                <a:off x="6277839" y="712422"/>
                <a:ext cx="605162" cy="193292"/>
              </a:xfrm>
              <a:prstGeom prst="triangle">
                <a:avLst/>
              </a:prstGeom>
              <a:solidFill>
                <a:srgbClr val="FFC409">
                  <a:alpha val="74902"/>
                </a:srgbClr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es-MX" dirty="0">
                  <a:latin typeface="Century Gothic" panose="020B0502020202020204" pitchFamily="34" charset="0"/>
                </a:endParaRPr>
              </a:p>
            </p:txBody>
          </p:sp>
        </p:grpSp>
      </p:grpSp>
      <p:grpSp>
        <p:nvGrpSpPr>
          <p:cNvPr id="27" name="Grupo 26">
            <a:extLst>
              <a:ext uri="{FF2B5EF4-FFF2-40B4-BE49-F238E27FC236}">
                <a16:creationId xmlns:a16="http://schemas.microsoft.com/office/drawing/2014/main" id="{45E3EE3D-81F6-39DE-0C95-5769ED5B4160}"/>
              </a:ext>
            </a:extLst>
          </p:cNvPr>
          <p:cNvGrpSpPr/>
          <p:nvPr/>
        </p:nvGrpSpPr>
        <p:grpSpPr>
          <a:xfrm>
            <a:off x="3644609" y="5682415"/>
            <a:ext cx="8460001" cy="865711"/>
            <a:chOff x="3644609" y="5682415"/>
            <a:chExt cx="8460001" cy="865711"/>
          </a:xfrm>
        </p:grpSpPr>
        <p:sp>
          <p:nvSpPr>
            <p:cNvPr id="55" name="Rectángulo 54">
              <a:extLst>
                <a:ext uri="{FF2B5EF4-FFF2-40B4-BE49-F238E27FC236}">
                  <a16:creationId xmlns:a16="http://schemas.microsoft.com/office/drawing/2014/main" id="{699E58EA-CC86-75F9-F044-767F8D08368E}"/>
                </a:ext>
              </a:extLst>
            </p:cNvPr>
            <p:cNvSpPr/>
            <p:nvPr/>
          </p:nvSpPr>
          <p:spPr>
            <a:xfrm>
              <a:off x="3644609" y="5682415"/>
              <a:ext cx="1439999" cy="865711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numCol="1" rtlCol="0" anchor="ctr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Inicio: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01 de junio</a:t>
              </a:r>
            </a:p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Fin: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30 de junio</a:t>
              </a:r>
            </a:p>
          </p:txBody>
        </p:sp>
        <p:sp>
          <p:nvSpPr>
            <p:cNvPr id="26" name="Rectángulo 25">
              <a:extLst>
                <a:ext uri="{FF2B5EF4-FFF2-40B4-BE49-F238E27FC236}">
                  <a16:creationId xmlns:a16="http://schemas.microsoft.com/office/drawing/2014/main" id="{289C7A8D-C47C-F5B1-FA0D-B4E37A4F0894}"/>
                </a:ext>
              </a:extLst>
            </p:cNvPr>
            <p:cNvSpPr/>
            <p:nvPr/>
          </p:nvSpPr>
          <p:spPr>
            <a:xfrm>
              <a:off x="5090151" y="5682415"/>
              <a:ext cx="2412000" cy="865711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numCol="1" rtlCol="0" anchor="ctr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Objetivos TIENDA A  Junio: 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IC: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2.1%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Transacciones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: 39,819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Venta= ppto +2.5%: </a:t>
              </a:r>
              <a:r>
                <a:rPr lang="es-MX" sz="1000" b="0" i="0" u="none" strike="noStrike" dirty="0">
                  <a:solidFill>
                    <a:srgbClr val="000000"/>
                  </a:solidFill>
                  <a:effectLst/>
                  <a:latin typeface="Calibri" panose="020F0502020204030204" pitchFamily="34" charset="0"/>
                </a:rPr>
                <a:t> </a:t>
              </a: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" name="Rectángulo 5">
              <a:extLst>
                <a:ext uri="{FF2B5EF4-FFF2-40B4-BE49-F238E27FC236}">
                  <a16:creationId xmlns:a16="http://schemas.microsoft.com/office/drawing/2014/main" id="{B6AD8DD2-CA7C-3F99-8BBF-C779E2840899}"/>
                </a:ext>
              </a:extLst>
            </p:cNvPr>
            <p:cNvSpPr/>
            <p:nvPr/>
          </p:nvSpPr>
          <p:spPr>
            <a:xfrm>
              <a:off x="7507694" y="5682415"/>
              <a:ext cx="2412000" cy="865711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numCol="1" rtlCol="0" anchor="ctr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Objetivos TIENDA B Junio: 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IC: 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27.3%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Transacciones</a:t>
              </a: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: 79,999</a:t>
              </a:r>
            </a:p>
            <a:p>
              <a:pPr marL="285750" indent="-285750">
                <a:spcBef>
                  <a:spcPts val="200"/>
                </a:spcBef>
                <a:spcAft>
                  <a:spcPts val="200"/>
                </a:spcAft>
                <a:buFont typeface="Arial" panose="020B0604020202020204" pitchFamily="34" charset="0"/>
                <a:buChar char="•"/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Venta= ppto +1.5%: </a:t>
              </a: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4" name="Rectángulo 63">
              <a:extLst>
                <a:ext uri="{FF2B5EF4-FFF2-40B4-BE49-F238E27FC236}">
                  <a16:creationId xmlns:a16="http://schemas.microsoft.com/office/drawing/2014/main" id="{AED1CBCA-5C7A-BDAC-0457-6D2C8B923123}"/>
                </a:ext>
              </a:extLst>
            </p:cNvPr>
            <p:cNvSpPr/>
            <p:nvPr/>
          </p:nvSpPr>
          <p:spPr>
            <a:xfrm>
              <a:off x="9925236" y="5682415"/>
              <a:ext cx="2179374" cy="865711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Ins="0" numCol="1" rtlCol="0" anchor="ctr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Beneficio adicional </a:t>
              </a:r>
              <a:r>
                <a:rPr lang="es-MX" sz="11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&gt;$2.6 MDP </a:t>
              </a:r>
              <a:endParaRPr lang="es-MX" sz="1000" b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  <p:grpSp>
        <p:nvGrpSpPr>
          <p:cNvPr id="19" name="Grupo 18">
            <a:extLst>
              <a:ext uri="{FF2B5EF4-FFF2-40B4-BE49-F238E27FC236}">
                <a16:creationId xmlns:a16="http://schemas.microsoft.com/office/drawing/2014/main" id="{AFD87377-4BDA-5393-74EA-B50E4A095798}"/>
              </a:ext>
            </a:extLst>
          </p:cNvPr>
          <p:cNvGrpSpPr/>
          <p:nvPr/>
        </p:nvGrpSpPr>
        <p:grpSpPr>
          <a:xfrm>
            <a:off x="3644609" y="3365985"/>
            <a:ext cx="8460000" cy="2220871"/>
            <a:chOff x="3644609" y="3480285"/>
            <a:chExt cx="8460000" cy="2220871"/>
          </a:xfrm>
        </p:grpSpPr>
        <p:sp>
          <p:nvSpPr>
            <p:cNvPr id="63" name="Rectángulo 62">
              <a:extLst>
                <a:ext uri="{FF2B5EF4-FFF2-40B4-BE49-F238E27FC236}">
                  <a16:creationId xmlns:a16="http://schemas.microsoft.com/office/drawing/2014/main" id="{DBEF5636-F9B6-A85C-CA3F-09C869ACF27F}"/>
                </a:ext>
              </a:extLst>
            </p:cNvPr>
            <p:cNvSpPr/>
            <p:nvPr/>
          </p:nvSpPr>
          <p:spPr>
            <a:xfrm>
              <a:off x="6631307" y="3480285"/>
              <a:ext cx="5473302" cy="2220870"/>
            </a:xfrm>
            <a:prstGeom prst="rect">
              <a:avLst/>
            </a:prstGeom>
            <a:solidFill>
              <a:srgbClr val="FFC409">
                <a:alpha val="54902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2" rtlCol="0" anchor="t"/>
            <a:lstStyle/>
            <a:p>
              <a:r>
                <a:rPr lang="es-MX" sz="1400" b="1" spc="3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Dia de ejecución</a:t>
              </a:r>
              <a:endParaRPr lang="es-MX" sz="1400" spc="3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62" name="Rectángulo 61">
              <a:extLst>
                <a:ext uri="{FF2B5EF4-FFF2-40B4-BE49-F238E27FC236}">
                  <a16:creationId xmlns:a16="http://schemas.microsoft.com/office/drawing/2014/main" id="{7DBEE840-F8AF-A320-FA41-A36D5FDB77ED}"/>
                </a:ext>
              </a:extLst>
            </p:cNvPr>
            <p:cNvSpPr/>
            <p:nvPr/>
          </p:nvSpPr>
          <p:spPr>
            <a:xfrm>
              <a:off x="3644609" y="3480285"/>
              <a:ext cx="2986698" cy="2220870"/>
            </a:xfrm>
            <a:prstGeom prst="rect">
              <a:avLst/>
            </a:prstGeom>
            <a:solidFill>
              <a:srgbClr val="FFC409">
                <a:alpha val="16863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36000" rIns="36000" bIns="36000" numCol="2" rtlCol="0" anchor="t"/>
            <a:lstStyle/>
            <a:p>
              <a:r>
                <a:rPr lang="es-MX" sz="1400" b="1" spc="3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Dia anterior</a:t>
              </a:r>
              <a:endParaRPr lang="es-MX" sz="1400" spc="3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  <p:sp>
          <p:nvSpPr>
            <p:cNvPr id="39" name="Flecha: a la derecha 38">
              <a:extLst>
                <a:ext uri="{FF2B5EF4-FFF2-40B4-BE49-F238E27FC236}">
                  <a16:creationId xmlns:a16="http://schemas.microsoft.com/office/drawing/2014/main" id="{AAACED3C-50BA-DF36-CDCA-B2326DAE8EB4}"/>
                </a:ext>
              </a:extLst>
            </p:cNvPr>
            <p:cNvSpPr/>
            <p:nvPr/>
          </p:nvSpPr>
          <p:spPr>
            <a:xfrm>
              <a:off x="720326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6" name="Flecha: a la derecha 45">
              <a:extLst>
                <a:ext uri="{FF2B5EF4-FFF2-40B4-BE49-F238E27FC236}">
                  <a16:creationId xmlns:a16="http://schemas.microsoft.com/office/drawing/2014/main" id="{02E56C55-83D1-B7B0-FD50-A82548BB2A0A}"/>
                </a:ext>
              </a:extLst>
            </p:cNvPr>
            <p:cNvSpPr/>
            <p:nvPr/>
          </p:nvSpPr>
          <p:spPr>
            <a:xfrm>
              <a:off x="477464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7" name="Flecha: a la derecha 46">
              <a:extLst>
                <a:ext uri="{FF2B5EF4-FFF2-40B4-BE49-F238E27FC236}">
                  <a16:creationId xmlns:a16="http://schemas.microsoft.com/office/drawing/2014/main" id="{957763A3-B336-7BFD-E668-D708D2758676}"/>
                </a:ext>
              </a:extLst>
            </p:cNvPr>
            <p:cNvSpPr/>
            <p:nvPr/>
          </p:nvSpPr>
          <p:spPr>
            <a:xfrm>
              <a:off x="598895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8" name="Flecha: a la derecha 47">
              <a:extLst>
                <a:ext uri="{FF2B5EF4-FFF2-40B4-BE49-F238E27FC236}">
                  <a16:creationId xmlns:a16="http://schemas.microsoft.com/office/drawing/2014/main" id="{7C5C1D18-D75F-B69C-545E-4A082BED1DA9}"/>
                </a:ext>
              </a:extLst>
            </p:cNvPr>
            <p:cNvSpPr/>
            <p:nvPr/>
          </p:nvSpPr>
          <p:spPr>
            <a:xfrm>
              <a:off x="841757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49" name="Flecha: a la derecha 48">
              <a:extLst>
                <a:ext uri="{FF2B5EF4-FFF2-40B4-BE49-F238E27FC236}">
                  <a16:creationId xmlns:a16="http://schemas.microsoft.com/office/drawing/2014/main" id="{DADD198B-080B-BB19-1C4E-03E4E9E400E3}"/>
                </a:ext>
              </a:extLst>
            </p:cNvPr>
            <p:cNvSpPr/>
            <p:nvPr/>
          </p:nvSpPr>
          <p:spPr>
            <a:xfrm>
              <a:off x="963188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sp>
          <p:nvSpPr>
            <p:cNvPr id="50" name="Flecha: a la derecha 49">
              <a:extLst>
                <a:ext uri="{FF2B5EF4-FFF2-40B4-BE49-F238E27FC236}">
                  <a16:creationId xmlns:a16="http://schemas.microsoft.com/office/drawing/2014/main" id="{AAB06312-3B88-D143-AEC8-DF43F247EE82}"/>
                </a:ext>
              </a:extLst>
            </p:cNvPr>
            <p:cNvSpPr/>
            <p:nvPr/>
          </p:nvSpPr>
          <p:spPr>
            <a:xfrm>
              <a:off x="10846199" y="4231716"/>
              <a:ext cx="144000" cy="216000"/>
            </a:xfrm>
            <a:prstGeom prst="rightArrow">
              <a:avLst/>
            </a:prstGeom>
            <a:solidFill>
              <a:srgbClr val="FFC409"/>
            </a:solidFill>
            <a:ln>
              <a:solidFill>
                <a:srgbClr val="595959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sz="1050" dirty="0">
                <a:latin typeface="Century Gothic" panose="020B0502020202020204" pitchFamily="34" charset="0"/>
              </a:endParaRPr>
            </a:p>
          </p:txBody>
        </p:sp>
        <p:grpSp>
          <p:nvGrpSpPr>
            <p:cNvPr id="76" name="Grupo 75">
              <a:extLst>
                <a:ext uri="{FF2B5EF4-FFF2-40B4-BE49-F238E27FC236}">
                  <a16:creationId xmlns:a16="http://schemas.microsoft.com/office/drawing/2014/main" id="{C34E48CA-BFF8-FC36-C632-E6A09A14062C}"/>
                </a:ext>
              </a:extLst>
            </p:cNvPr>
            <p:cNvGrpSpPr/>
            <p:nvPr/>
          </p:nvGrpSpPr>
          <p:grpSpPr>
            <a:xfrm>
              <a:off x="3735494" y="3732036"/>
              <a:ext cx="1008000" cy="974264"/>
              <a:chOff x="3706919" y="3732036"/>
              <a:chExt cx="1008000" cy="974264"/>
            </a:xfrm>
          </p:grpSpPr>
          <p:sp>
            <p:nvSpPr>
              <p:cNvPr id="40" name="Rectángulo: esquinas redondeadas 39">
                <a:extLst>
                  <a:ext uri="{FF2B5EF4-FFF2-40B4-BE49-F238E27FC236}">
                    <a16:creationId xmlns:a16="http://schemas.microsoft.com/office/drawing/2014/main" id="{5922E5D6-6C51-338C-A575-3B7B0CB3313B}"/>
                  </a:ext>
                </a:extLst>
              </p:cNvPr>
              <p:cNvSpPr/>
              <p:nvPr/>
            </p:nvSpPr>
            <p:spPr>
              <a:xfrm>
                <a:off x="3706919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Cierre de tienda</a:t>
                </a:r>
              </a:p>
            </p:txBody>
          </p:sp>
          <p:sp>
            <p:nvSpPr>
              <p:cNvPr id="8" name="Rectángulo 7">
                <a:extLst>
                  <a:ext uri="{FF2B5EF4-FFF2-40B4-BE49-F238E27FC236}">
                    <a16:creationId xmlns:a16="http://schemas.microsoft.com/office/drawing/2014/main" id="{917A9648-989E-CD0C-438A-79717FD41C44}"/>
                  </a:ext>
                </a:extLst>
              </p:cNvPr>
              <p:cNvSpPr/>
              <p:nvPr/>
            </p:nvSpPr>
            <p:spPr>
              <a:xfrm>
                <a:off x="3706919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21:00</a:t>
                </a:r>
              </a:p>
            </p:txBody>
          </p:sp>
        </p:grpSp>
        <p:grpSp>
          <p:nvGrpSpPr>
            <p:cNvPr id="75" name="Grupo 74">
              <a:extLst>
                <a:ext uri="{FF2B5EF4-FFF2-40B4-BE49-F238E27FC236}">
                  <a16:creationId xmlns:a16="http://schemas.microsoft.com/office/drawing/2014/main" id="{95374B37-6C42-B05A-9421-69EEFB58D3EE}"/>
                </a:ext>
              </a:extLst>
            </p:cNvPr>
            <p:cNvGrpSpPr/>
            <p:nvPr/>
          </p:nvGrpSpPr>
          <p:grpSpPr>
            <a:xfrm>
              <a:off x="4949804" y="3732036"/>
              <a:ext cx="1008000" cy="974264"/>
              <a:chOff x="4913291" y="3732036"/>
              <a:chExt cx="1008000" cy="974264"/>
            </a:xfrm>
          </p:grpSpPr>
          <p:sp>
            <p:nvSpPr>
              <p:cNvPr id="41" name="Rectángulo: esquinas redondeadas 40">
                <a:extLst>
                  <a:ext uri="{FF2B5EF4-FFF2-40B4-BE49-F238E27FC236}">
                    <a16:creationId xmlns:a16="http://schemas.microsoft.com/office/drawing/2014/main" id="{9A387098-6C4F-E103-2844-287FF0100856}"/>
                  </a:ext>
                </a:extLst>
              </p:cNvPr>
              <p:cNvSpPr/>
              <p:nvPr/>
            </p:nvSpPr>
            <p:spPr>
              <a:xfrm>
                <a:off x="4913291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Informe de cierre y análisis</a:t>
                </a:r>
              </a:p>
            </p:txBody>
          </p:sp>
          <p:sp>
            <p:nvSpPr>
              <p:cNvPr id="10" name="Rectángulo 9">
                <a:extLst>
                  <a:ext uri="{FF2B5EF4-FFF2-40B4-BE49-F238E27FC236}">
                    <a16:creationId xmlns:a16="http://schemas.microsoft.com/office/drawing/2014/main" id="{5DBB4A7A-4E3D-B4D0-E9DB-B1A239A6BDDA}"/>
                  </a:ext>
                </a:extLst>
              </p:cNvPr>
              <p:cNvSpPr/>
              <p:nvPr/>
            </p:nvSpPr>
            <p:spPr>
              <a:xfrm>
                <a:off x="4913291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22:30</a:t>
                </a:r>
              </a:p>
            </p:txBody>
          </p:sp>
        </p:grpSp>
        <p:grpSp>
          <p:nvGrpSpPr>
            <p:cNvPr id="73" name="Grupo 72">
              <a:extLst>
                <a:ext uri="{FF2B5EF4-FFF2-40B4-BE49-F238E27FC236}">
                  <a16:creationId xmlns:a16="http://schemas.microsoft.com/office/drawing/2014/main" id="{811783E4-6812-35FB-DAEB-7B65183AD7F7}"/>
                </a:ext>
              </a:extLst>
            </p:cNvPr>
            <p:cNvGrpSpPr/>
            <p:nvPr/>
          </p:nvGrpSpPr>
          <p:grpSpPr>
            <a:xfrm>
              <a:off x="7378424" y="3732036"/>
              <a:ext cx="1008000" cy="974264"/>
              <a:chOff x="7326035" y="3732036"/>
              <a:chExt cx="1008000" cy="974264"/>
            </a:xfrm>
          </p:grpSpPr>
          <p:sp>
            <p:nvSpPr>
              <p:cNvPr id="43" name="Rectángulo: esquinas redondeadas 42">
                <a:extLst>
                  <a:ext uri="{FF2B5EF4-FFF2-40B4-BE49-F238E27FC236}">
                    <a16:creationId xmlns:a16="http://schemas.microsoft.com/office/drawing/2014/main" id="{BAE97B63-A5A3-F323-E7EB-0B101B04CAF4}"/>
                  </a:ext>
                </a:extLst>
              </p:cNvPr>
              <p:cNvSpPr/>
              <p:nvPr/>
            </p:nvSpPr>
            <p:spPr>
              <a:xfrm>
                <a:off x="7326035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Acción puntual para mejorar un KPI del día anterior</a:t>
                </a:r>
              </a:p>
            </p:txBody>
          </p:sp>
          <p:sp>
            <p:nvSpPr>
              <p:cNvPr id="15" name="Rectángulo 14">
                <a:extLst>
                  <a:ext uri="{FF2B5EF4-FFF2-40B4-BE49-F238E27FC236}">
                    <a16:creationId xmlns:a16="http://schemas.microsoft.com/office/drawing/2014/main" id="{6A008CD7-1EC3-EC2C-3F13-9DB60B53270E}"/>
                  </a:ext>
                </a:extLst>
              </p:cNvPr>
              <p:cNvSpPr/>
              <p:nvPr/>
            </p:nvSpPr>
            <p:spPr>
              <a:xfrm>
                <a:off x="7326035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10:00</a:t>
                </a:r>
              </a:p>
            </p:txBody>
          </p:sp>
        </p:grpSp>
        <p:grpSp>
          <p:nvGrpSpPr>
            <p:cNvPr id="72" name="Grupo 71">
              <a:extLst>
                <a:ext uri="{FF2B5EF4-FFF2-40B4-BE49-F238E27FC236}">
                  <a16:creationId xmlns:a16="http://schemas.microsoft.com/office/drawing/2014/main" id="{4679357A-7920-1D4C-8332-1CF8058C0D46}"/>
                </a:ext>
              </a:extLst>
            </p:cNvPr>
            <p:cNvGrpSpPr/>
            <p:nvPr/>
          </p:nvGrpSpPr>
          <p:grpSpPr>
            <a:xfrm>
              <a:off x="8592734" y="3732036"/>
              <a:ext cx="1008000" cy="974264"/>
              <a:chOff x="8532407" y="3732036"/>
              <a:chExt cx="1008000" cy="974264"/>
            </a:xfrm>
          </p:grpSpPr>
          <p:sp>
            <p:nvSpPr>
              <p:cNvPr id="44" name="Rectángulo: esquinas redondeadas 43">
                <a:extLst>
                  <a:ext uri="{FF2B5EF4-FFF2-40B4-BE49-F238E27FC236}">
                    <a16:creationId xmlns:a16="http://schemas.microsoft.com/office/drawing/2014/main" id="{6988AB45-DE1E-B29A-BBCD-7FAF0A5F9AFF}"/>
                  </a:ext>
                </a:extLst>
              </p:cNvPr>
              <p:cNvSpPr/>
              <p:nvPr/>
            </p:nvSpPr>
            <p:spPr>
              <a:xfrm>
                <a:off x="8532407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50" b="1" dirty="0">
                    <a:latin typeface="Century Gothic" panose="020B0502020202020204" pitchFamily="34" charset="0"/>
                  </a:rPr>
                  <a:t>Briefing</a:t>
                </a:r>
                <a:r>
                  <a:rPr lang="es-MX" sz="1000" b="1" dirty="0">
                    <a:latin typeface="Century Gothic" panose="020B0502020202020204" pitchFamily="34" charset="0"/>
                  </a:rPr>
                  <a:t> </a:t>
                </a:r>
                <a:r>
                  <a:rPr lang="es-MX" sz="1000" dirty="0">
                    <a:latin typeface="Century Gothic" panose="020B0502020202020204" pitchFamily="34" charset="0"/>
                  </a:rPr>
                  <a:t>Comunicación de acción y cómo hacerlo</a:t>
                </a:r>
              </a:p>
            </p:txBody>
          </p:sp>
          <p:sp>
            <p:nvSpPr>
              <p:cNvPr id="16" name="Rectángulo 15">
                <a:extLst>
                  <a:ext uri="{FF2B5EF4-FFF2-40B4-BE49-F238E27FC236}">
                    <a16:creationId xmlns:a16="http://schemas.microsoft.com/office/drawing/2014/main" id="{B0A09733-D57A-A15F-07F2-8EB50EE79BF8}"/>
                  </a:ext>
                </a:extLst>
              </p:cNvPr>
              <p:cNvSpPr/>
              <p:nvPr/>
            </p:nvSpPr>
            <p:spPr>
              <a:xfrm>
                <a:off x="8532407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10:30</a:t>
                </a:r>
              </a:p>
            </p:txBody>
          </p:sp>
        </p:grpSp>
        <p:grpSp>
          <p:nvGrpSpPr>
            <p:cNvPr id="71" name="Grupo 70">
              <a:extLst>
                <a:ext uri="{FF2B5EF4-FFF2-40B4-BE49-F238E27FC236}">
                  <a16:creationId xmlns:a16="http://schemas.microsoft.com/office/drawing/2014/main" id="{E1A1731E-3A74-3F3F-F661-A398E48C7926}"/>
                </a:ext>
              </a:extLst>
            </p:cNvPr>
            <p:cNvGrpSpPr/>
            <p:nvPr/>
          </p:nvGrpSpPr>
          <p:grpSpPr>
            <a:xfrm>
              <a:off x="9807044" y="3732036"/>
              <a:ext cx="1008000" cy="974264"/>
              <a:chOff x="9738779" y="3732036"/>
              <a:chExt cx="1008000" cy="974264"/>
            </a:xfrm>
          </p:grpSpPr>
          <p:sp>
            <p:nvSpPr>
              <p:cNvPr id="45" name="Rectángulo: esquinas redondeadas 44">
                <a:extLst>
                  <a:ext uri="{FF2B5EF4-FFF2-40B4-BE49-F238E27FC236}">
                    <a16:creationId xmlns:a16="http://schemas.microsoft.com/office/drawing/2014/main" id="{8C648629-FDFE-A4A6-79FA-968A61915272}"/>
                  </a:ext>
                </a:extLst>
              </p:cNvPr>
              <p:cNvSpPr/>
              <p:nvPr/>
            </p:nvSpPr>
            <p:spPr>
              <a:xfrm>
                <a:off x="9738779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Ejecución </a:t>
                </a:r>
              </a:p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+ </a:t>
                </a:r>
              </a:p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reglas de compromiso</a:t>
                </a:r>
              </a:p>
            </p:txBody>
          </p:sp>
          <p:sp>
            <p:nvSpPr>
              <p:cNvPr id="17" name="Rectángulo 16">
                <a:extLst>
                  <a:ext uri="{FF2B5EF4-FFF2-40B4-BE49-F238E27FC236}">
                    <a16:creationId xmlns:a16="http://schemas.microsoft.com/office/drawing/2014/main" id="{DCD3B94C-80F6-A689-2CFF-9BA09B73E888}"/>
                  </a:ext>
                </a:extLst>
              </p:cNvPr>
              <p:cNvSpPr/>
              <p:nvPr/>
            </p:nvSpPr>
            <p:spPr>
              <a:xfrm>
                <a:off x="9738779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11:00</a:t>
                </a:r>
              </a:p>
            </p:txBody>
          </p:sp>
        </p:grpSp>
        <p:grpSp>
          <p:nvGrpSpPr>
            <p:cNvPr id="70" name="Grupo 69">
              <a:extLst>
                <a:ext uri="{FF2B5EF4-FFF2-40B4-BE49-F238E27FC236}">
                  <a16:creationId xmlns:a16="http://schemas.microsoft.com/office/drawing/2014/main" id="{C2216693-E36B-9477-84A7-5926C8086E49}"/>
                </a:ext>
              </a:extLst>
            </p:cNvPr>
            <p:cNvGrpSpPr/>
            <p:nvPr/>
          </p:nvGrpSpPr>
          <p:grpSpPr>
            <a:xfrm>
              <a:off x="11021350" y="3732036"/>
              <a:ext cx="1008000" cy="974264"/>
              <a:chOff x="10945150" y="3732036"/>
              <a:chExt cx="1008000" cy="974264"/>
            </a:xfrm>
          </p:grpSpPr>
          <p:sp>
            <p:nvSpPr>
              <p:cNvPr id="51" name="Rectángulo: esquinas redondeadas 50">
                <a:extLst>
                  <a:ext uri="{FF2B5EF4-FFF2-40B4-BE49-F238E27FC236}">
                    <a16:creationId xmlns:a16="http://schemas.microsoft.com/office/drawing/2014/main" id="{F7746C67-B50E-38D0-73AE-C7C4D663AE9E}"/>
                  </a:ext>
                </a:extLst>
              </p:cNvPr>
              <p:cNvSpPr/>
              <p:nvPr/>
            </p:nvSpPr>
            <p:spPr>
              <a:xfrm>
                <a:off x="10945150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50" b="1" dirty="0">
                    <a:latin typeface="Century Gothic" panose="020B0502020202020204" pitchFamily="34" charset="0"/>
                  </a:rPr>
                  <a:t>Debriefing</a:t>
                </a:r>
                <a:endParaRPr lang="es-MX" sz="1000" b="1" dirty="0">
                  <a:latin typeface="Century Gothic" panose="020B0502020202020204" pitchFamily="34" charset="0"/>
                </a:endParaRPr>
              </a:p>
              <a:p>
                <a:pPr algn="ctr"/>
                <a:endParaRPr lang="es-MX" sz="1000" b="1" dirty="0">
                  <a:latin typeface="Century Gothic" panose="020B0502020202020204" pitchFamily="34" charset="0"/>
                </a:endParaRPr>
              </a:p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Reforzamiento y corrección</a:t>
                </a:r>
              </a:p>
            </p:txBody>
          </p:sp>
          <p:sp>
            <p:nvSpPr>
              <p:cNvPr id="18" name="Rectángulo 17">
                <a:extLst>
                  <a:ext uri="{FF2B5EF4-FFF2-40B4-BE49-F238E27FC236}">
                    <a16:creationId xmlns:a16="http://schemas.microsoft.com/office/drawing/2014/main" id="{F16811ED-2142-2120-F005-C6EECF0147EA}"/>
                  </a:ext>
                </a:extLst>
              </p:cNvPr>
              <p:cNvSpPr/>
              <p:nvPr/>
            </p:nvSpPr>
            <p:spPr>
              <a:xfrm>
                <a:off x="10945150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16:00-16:30</a:t>
                </a:r>
              </a:p>
            </p:txBody>
          </p:sp>
        </p:grpSp>
        <p:grpSp>
          <p:nvGrpSpPr>
            <p:cNvPr id="74" name="Grupo 73">
              <a:extLst>
                <a:ext uri="{FF2B5EF4-FFF2-40B4-BE49-F238E27FC236}">
                  <a16:creationId xmlns:a16="http://schemas.microsoft.com/office/drawing/2014/main" id="{EB03E78B-0568-B4BD-36C3-01AFB14B06E4}"/>
                </a:ext>
              </a:extLst>
            </p:cNvPr>
            <p:cNvGrpSpPr/>
            <p:nvPr/>
          </p:nvGrpSpPr>
          <p:grpSpPr>
            <a:xfrm>
              <a:off x="6164114" y="3732036"/>
              <a:ext cx="1008000" cy="974264"/>
              <a:chOff x="6119663" y="3732036"/>
              <a:chExt cx="1008000" cy="974264"/>
            </a:xfrm>
          </p:grpSpPr>
          <p:sp>
            <p:nvSpPr>
              <p:cNvPr id="14" name="Rectángulo 13">
                <a:extLst>
                  <a:ext uri="{FF2B5EF4-FFF2-40B4-BE49-F238E27FC236}">
                    <a16:creationId xmlns:a16="http://schemas.microsoft.com/office/drawing/2014/main" id="{431F4C1D-0EC5-7CBD-25F1-700210C48B5E}"/>
                  </a:ext>
                </a:extLst>
              </p:cNvPr>
              <p:cNvSpPr/>
              <p:nvPr/>
            </p:nvSpPr>
            <p:spPr>
              <a:xfrm>
                <a:off x="6119663" y="3732036"/>
                <a:ext cx="1008000" cy="173644"/>
              </a:xfrm>
              <a:prstGeom prst="rect">
                <a:avLst/>
              </a:prstGeom>
              <a:noFill/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t"/>
              <a:lstStyle/>
              <a:p>
                <a:pPr algn="ctr">
                  <a:spcBef>
                    <a:spcPts val="200"/>
                  </a:spcBef>
                  <a:spcAft>
                    <a:spcPts val="200"/>
                  </a:spcAft>
                </a:pPr>
                <a:r>
                  <a:rPr lang="es-MX" sz="1050" b="1" i="1" dirty="0">
                    <a:solidFill>
                      <a:schemeClr val="tx1"/>
                    </a:solidFill>
                    <a:latin typeface="Century Gothic" panose="020B0502020202020204" pitchFamily="34" charset="0"/>
                  </a:rPr>
                  <a:t>22:30-10:00</a:t>
                </a:r>
              </a:p>
            </p:txBody>
          </p:sp>
          <p:sp>
            <p:nvSpPr>
              <p:cNvPr id="42" name="Rectángulo: esquinas redondeadas 41">
                <a:extLst>
                  <a:ext uri="{FF2B5EF4-FFF2-40B4-BE49-F238E27FC236}">
                    <a16:creationId xmlns:a16="http://schemas.microsoft.com/office/drawing/2014/main" id="{EF9C93A7-2367-5487-BE3E-EDF0FFD36B57}"/>
                  </a:ext>
                </a:extLst>
              </p:cNvPr>
              <p:cNvSpPr/>
              <p:nvPr/>
            </p:nvSpPr>
            <p:spPr>
              <a:xfrm>
                <a:off x="6119663" y="3973133"/>
                <a:ext cx="1008000" cy="733167"/>
              </a:xfrm>
              <a:prstGeom prst="roundRect">
                <a:avLst/>
              </a:prstGeom>
              <a:solidFill>
                <a:srgbClr val="595959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wrap="square" lIns="0" tIns="0" rIns="0" bIns="0" rtlCol="0" anchor="ctr"/>
              <a:lstStyle/>
              <a:p>
                <a:pPr algn="ctr"/>
                <a:r>
                  <a:rPr lang="es-MX" sz="1000" dirty="0">
                    <a:latin typeface="Century Gothic" panose="020B0502020202020204" pitchFamily="34" charset="0"/>
                  </a:rPr>
                  <a:t>Detección de áreas de oportunidad + propuestas</a:t>
                </a:r>
              </a:p>
            </p:txBody>
          </p:sp>
        </p:grpSp>
        <p:sp>
          <p:nvSpPr>
            <p:cNvPr id="25" name="Rectángulo 24">
              <a:extLst>
                <a:ext uri="{FF2B5EF4-FFF2-40B4-BE49-F238E27FC236}">
                  <a16:creationId xmlns:a16="http://schemas.microsoft.com/office/drawing/2014/main" id="{B65C7401-E634-CDDF-AFF6-FBEB6F31DF4E}"/>
                </a:ext>
              </a:extLst>
            </p:cNvPr>
            <p:cNvSpPr/>
            <p:nvPr/>
          </p:nvSpPr>
          <p:spPr>
            <a:xfrm>
              <a:off x="6835141" y="4958664"/>
              <a:ext cx="5087313" cy="742491"/>
            </a:xfrm>
            <a:prstGeom prst="rect">
              <a:avLst/>
            </a:prstGeom>
            <a:noFill/>
            <a:ln>
              <a:solidFill>
                <a:srgbClr val="BDAA6C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wrap="square" lIns="36000" tIns="0" rIns="36000" bIns="0" numCol="2" rtlCol="0" anchor="ctr"/>
            <a:lstStyle/>
            <a:p>
              <a:r>
                <a:rPr lang="es-MX" sz="1000" b="1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Reglas de compromiso: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Puntualidad en todo moment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Imagen Palacio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Limpieza en tu área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endParaRPr lang="es-MX" sz="1000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Suspender uso de celulares 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Evita hacer bolitas</a:t>
              </a:r>
            </a:p>
            <a:p>
              <a:pPr marL="171450" indent="-171450">
                <a:buFont typeface="Arial" panose="020B0604020202020204" pitchFamily="34" charset="0"/>
                <a:buChar char="•"/>
              </a:pPr>
              <a:r>
                <a:rPr lang="es-MX" sz="1000" dirty="0">
                  <a:solidFill>
                    <a:schemeClr val="tx1"/>
                  </a:solidFill>
                  <a:latin typeface="Century Gothic" panose="020B0502020202020204" pitchFamily="34" charset="0"/>
                </a:rPr>
                <a:t>No tomarse descansos prolongados</a:t>
              </a:r>
            </a:p>
          </p:txBody>
        </p:sp>
        <p:sp>
          <p:nvSpPr>
            <p:cNvPr id="24" name="Trapecio 23">
              <a:extLst>
                <a:ext uri="{FF2B5EF4-FFF2-40B4-BE49-F238E27FC236}">
                  <a16:creationId xmlns:a16="http://schemas.microsoft.com/office/drawing/2014/main" id="{715F6D25-5D06-1495-AC36-F69A60CEAF69}"/>
                </a:ext>
              </a:extLst>
            </p:cNvPr>
            <p:cNvSpPr/>
            <p:nvPr/>
          </p:nvSpPr>
          <p:spPr>
            <a:xfrm>
              <a:off x="6826788" y="4689791"/>
              <a:ext cx="5087312" cy="268873"/>
            </a:xfrm>
            <a:custGeom>
              <a:avLst/>
              <a:gdLst>
                <a:gd name="connsiteX0" fmla="*/ 0 w 7749501"/>
                <a:gd name="connsiteY0" fmla="*/ 464955 h 464955"/>
                <a:gd name="connsiteX1" fmla="*/ 116239 w 7749501"/>
                <a:gd name="connsiteY1" fmla="*/ 0 h 464955"/>
                <a:gd name="connsiteX2" fmla="*/ 7633262 w 7749501"/>
                <a:gd name="connsiteY2" fmla="*/ 0 h 464955"/>
                <a:gd name="connsiteX3" fmla="*/ 7749501 w 7749501"/>
                <a:gd name="connsiteY3" fmla="*/ 464955 h 464955"/>
                <a:gd name="connsiteX4" fmla="*/ 0 w 7749501"/>
                <a:gd name="connsiteY4" fmla="*/ 464955 h 464955"/>
                <a:gd name="connsiteX0" fmla="*/ 0 w 7749501"/>
                <a:gd name="connsiteY0" fmla="*/ 474480 h 474480"/>
                <a:gd name="connsiteX1" fmla="*/ 116239 w 7749501"/>
                <a:gd name="connsiteY1" fmla="*/ 9525 h 474480"/>
                <a:gd name="connsiteX2" fmla="*/ 6642662 w 7749501"/>
                <a:gd name="connsiteY2" fmla="*/ 0 h 474480"/>
                <a:gd name="connsiteX3" fmla="*/ 7749501 w 7749501"/>
                <a:gd name="connsiteY3" fmla="*/ 474480 h 474480"/>
                <a:gd name="connsiteX4" fmla="*/ 0 w 7749501"/>
                <a:gd name="connsiteY4" fmla="*/ 474480 h 474480"/>
                <a:gd name="connsiteX0" fmla="*/ 0 w 7749501"/>
                <a:gd name="connsiteY0" fmla="*/ 474480 h 474480"/>
                <a:gd name="connsiteX1" fmla="*/ 5764564 w 7749501"/>
                <a:gd name="connsiteY1" fmla="*/ 9525 h 474480"/>
                <a:gd name="connsiteX2" fmla="*/ 6642662 w 7749501"/>
                <a:gd name="connsiteY2" fmla="*/ 0 h 474480"/>
                <a:gd name="connsiteX3" fmla="*/ 7749501 w 7749501"/>
                <a:gd name="connsiteY3" fmla="*/ 474480 h 474480"/>
                <a:gd name="connsiteX4" fmla="*/ 0 w 7749501"/>
                <a:gd name="connsiteY4" fmla="*/ 474480 h 474480"/>
                <a:gd name="connsiteX0" fmla="*/ 0 w 7749501"/>
                <a:gd name="connsiteY0" fmla="*/ 484005 h 484005"/>
                <a:gd name="connsiteX1" fmla="*/ 4663271 w 7749501"/>
                <a:gd name="connsiteY1" fmla="*/ 0 h 484005"/>
                <a:gd name="connsiteX2" fmla="*/ 6642662 w 7749501"/>
                <a:gd name="connsiteY2" fmla="*/ 9525 h 484005"/>
                <a:gd name="connsiteX3" fmla="*/ 7749501 w 7749501"/>
                <a:gd name="connsiteY3" fmla="*/ 484005 h 484005"/>
                <a:gd name="connsiteX4" fmla="*/ 0 w 7749501"/>
                <a:gd name="connsiteY4" fmla="*/ 484005 h 484005"/>
                <a:gd name="connsiteX0" fmla="*/ 0 w 7749501"/>
                <a:gd name="connsiteY0" fmla="*/ 522105 h 522105"/>
                <a:gd name="connsiteX1" fmla="*/ 4663271 w 7749501"/>
                <a:gd name="connsiteY1" fmla="*/ 38100 h 522105"/>
                <a:gd name="connsiteX2" fmla="*/ 5996571 w 7749501"/>
                <a:gd name="connsiteY2" fmla="*/ 0 h 522105"/>
                <a:gd name="connsiteX3" fmla="*/ 7749501 w 7749501"/>
                <a:gd name="connsiteY3" fmla="*/ 522105 h 522105"/>
                <a:gd name="connsiteX4" fmla="*/ 0 w 7749501"/>
                <a:gd name="connsiteY4" fmla="*/ 522105 h 522105"/>
                <a:gd name="connsiteX0" fmla="*/ 0 w 7749501"/>
                <a:gd name="connsiteY0" fmla="*/ 522105 h 522105"/>
                <a:gd name="connsiteX1" fmla="*/ 4951075 w 7749501"/>
                <a:gd name="connsiteY1" fmla="*/ 22860 h 522105"/>
                <a:gd name="connsiteX2" fmla="*/ 5996571 w 7749501"/>
                <a:gd name="connsiteY2" fmla="*/ 0 h 522105"/>
                <a:gd name="connsiteX3" fmla="*/ 7749501 w 7749501"/>
                <a:gd name="connsiteY3" fmla="*/ 522105 h 522105"/>
                <a:gd name="connsiteX4" fmla="*/ 0 w 7749501"/>
                <a:gd name="connsiteY4" fmla="*/ 522105 h 522105"/>
                <a:gd name="connsiteX0" fmla="*/ 0 w 7749501"/>
                <a:gd name="connsiteY0" fmla="*/ 499245 h 499245"/>
                <a:gd name="connsiteX1" fmla="*/ 4951075 w 7749501"/>
                <a:gd name="connsiteY1" fmla="*/ 0 h 499245"/>
                <a:gd name="connsiteX2" fmla="*/ 5773376 w 7749501"/>
                <a:gd name="connsiteY2" fmla="*/ 0 h 499245"/>
                <a:gd name="connsiteX3" fmla="*/ 7749501 w 7749501"/>
                <a:gd name="connsiteY3" fmla="*/ 499245 h 499245"/>
                <a:gd name="connsiteX4" fmla="*/ 0 w 7749501"/>
                <a:gd name="connsiteY4" fmla="*/ 499245 h 499245"/>
                <a:gd name="connsiteX0" fmla="*/ 0 w 7749501"/>
                <a:gd name="connsiteY0" fmla="*/ 505346 h 505346"/>
                <a:gd name="connsiteX1" fmla="*/ 5060715 w 7749501"/>
                <a:gd name="connsiteY1" fmla="*/ 0 h 505346"/>
                <a:gd name="connsiteX2" fmla="*/ 5773376 w 7749501"/>
                <a:gd name="connsiteY2" fmla="*/ 6101 h 505346"/>
                <a:gd name="connsiteX3" fmla="*/ 7749501 w 7749501"/>
                <a:gd name="connsiteY3" fmla="*/ 505346 h 505346"/>
                <a:gd name="connsiteX4" fmla="*/ 0 w 7749501"/>
                <a:gd name="connsiteY4" fmla="*/ 505346 h 505346"/>
                <a:gd name="connsiteX0" fmla="*/ 0 w 7749501"/>
                <a:gd name="connsiteY0" fmla="*/ 505346 h 505346"/>
                <a:gd name="connsiteX1" fmla="*/ 5060715 w 7749501"/>
                <a:gd name="connsiteY1" fmla="*/ 0 h 505346"/>
                <a:gd name="connsiteX2" fmla="*/ 5632410 w 7749501"/>
                <a:gd name="connsiteY2" fmla="*/ 0 h 505346"/>
                <a:gd name="connsiteX3" fmla="*/ 7749501 w 7749501"/>
                <a:gd name="connsiteY3" fmla="*/ 505346 h 505346"/>
                <a:gd name="connsiteX4" fmla="*/ 0 w 7749501"/>
                <a:gd name="connsiteY4" fmla="*/ 505346 h 505346"/>
                <a:gd name="connsiteX0" fmla="*/ 0 w 7749501"/>
                <a:gd name="connsiteY0" fmla="*/ 505346 h 505346"/>
                <a:gd name="connsiteX1" fmla="*/ 5060715 w 7749501"/>
                <a:gd name="connsiteY1" fmla="*/ 0 h 505346"/>
                <a:gd name="connsiteX2" fmla="*/ 5940188 w 7749501"/>
                <a:gd name="connsiteY2" fmla="*/ 0 h 505346"/>
                <a:gd name="connsiteX3" fmla="*/ 7749501 w 7749501"/>
                <a:gd name="connsiteY3" fmla="*/ 505346 h 505346"/>
                <a:gd name="connsiteX4" fmla="*/ 0 w 7749501"/>
                <a:gd name="connsiteY4" fmla="*/ 505346 h 505346"/>
                <a:gd name="connsiteX0" fmla="*/ 0 w 7749501"/>
                <a:gd name="connsiteY0" fmla="*/ 505346 h 505346"/>
                <a:gd name="connsiteX1" fmla="*/ 5150484 w 7749501"/>
                <a:gd name="connsiteY1" fmla="*/ 0 h 505346"/>
                <a:gd name="connsiteX2" fmla="*/ 5940188 w 7749501"/>
                <a:gd name="connsiteY2" fmla="*/ 0 h 505346"/>
                <a:gd name="connsiteX3" fmla="*/ 7749501 w 7749501"/>
                <a:gd name="connsiteY3" fmla="*/ 505346 h 505346"/>
                <a:gd name="connsiteX4" fmla="*/ 0 w 7749501"/>
                <a:gd name="connsiteY4" fmla="*/ 505346 h 505346"/>
                <a:gd name="connsiteX0" fmla="*/ 0 w 8561693"/>
                <a:gd name="connsiteY0" fmla="*/ 511447 h 511447"/>
                <a:gd name="connsiteX1" fmla="*/ 5962676 w 8561693"/>
                <a:gd name="connsiteY1" fmla="*/ 0 h 511447"/>
                <a:gd name="connsiteX2" fmla="*/ 6752380 w 8561693"/>
                <a:gd name="connsiteY2" fmla="*/ 0 h 511447"/>
                <a:gd name="connsiteX3" fmla="*/ 8561693 w 8561693"/>
                <a:gd name="connsiteY3" fmla="*/ 505346 h 511447"/>
                <a:gd name="connsiteX4" fmla="*/ 0 w 8561693"/>
                <a:gd name="connsiteY4" fmla="*/ 511447 h 511447"/>
                <a:gd name="connsiteX0" fmla="*/ 0 w 8561693"/>
                <a:gd name="connsiteY0" fmla="*/ 511447 h 511447"/>
                <a:gd name="connsiteX1" fmla="*/ 5359944 w 8561693"/>
                <a:gd name="connsiteY1" fmla="*/ 48983 h 511447"/>
                <a:gd name="connsiteX2" fmla="*/ 6752380 w 8561693"/>
                <a:gd name="connsiteY2" fmla="*/ 0 h 511447"/>
                <a:gd name="connsiteX3" fmla="*/ 8561693 w 8561693"/>
                <a:gd name="connsiteY3" fmla="*/ 505346 h 511447"/>
                <a:gd name="connsiteX4" fmla="*/ 0 w 8561693"/>
                <a:gd name="connsiteY4" fmla="*/ 511447 h 511447"/>
                <a:gd name="connsiteX0" fmla="*/ 0 w 8561693"/>
                <a:gd name="connsiteY0" fmla="*/ 471370 h 471370"/>
                <a:gd name="connsiteX1" fmla="*/ 5359944 w 8561693"/>
                <a:gd name="connsiteY1" fmla="*/ 8906 h 471370"/>
                <a:gd name="connsiteX2" fmla="*/ 6389031 w 8561693"/>
                <a:gd name="connsiteY2" fmla="*/ 0 h 471370"/>
                <a:gd name="connsiteX3" fmla="*/ 8561693 w 8561693"/>
                <a:gd name="connsiteY3" fmla="*/ 465269 h 471370"/>
                <a:gd name="connsiteX4" fmla="*/ 0 w 8561693"/>
                <a:gd name="connsiteY4" fmla="*/ 471370 h 471370"/>
              </a:gdLst>
              <a:ahLst/>
              <a:cxnLst>
                <a:cxn ang="0">
                  <a:pos x="connsiteX0" y="connsiteY0"/>
                </a:cxn>
                <a:cxn ang="0">
                  <a:pos x="connsiteX1" y="connsiteY1"/>
                </a:cxn>
                <a:cxn ang="0">
                  <a:pos x="connsiteX2" y="connsiteY2"/>
                </a:cxn>
                <a:cxn ang="0">
                  <a:pos x="connsiteX3" y="connsiteY3"/>
                </a:cxn>
                <a:cxn ang="0">
                  <a:pos x="connsiteX4" y="connsiteY4"/>
                </a:cxn>
              </a:cxnLst>
              <a:rect l="l" t="t" r="r" b="b"/>
              <a:pathLst>
                <a:path w="8561693" h="471370">
                  <a:moveTo>
                    <a:pt x="0" y="471370"/>
                  </a:moveTo>
                  <a:lnTo>
                    <a:pt x="5359944" y="8906"/>
                  </a:lnTo>
                  <a:lnTo>
                    <a:pt x="6389031" y="0"/>
                  </a:lnTo>
                  <a:lnTo>
                    <a:pt x="8561693" y="465269"/>
                  </a:lnTo>
                  <a:lnTo>
                    <a:pt x="0" y="471370"/>
                  </a:lnTo>
                  <a:close/>
                </a:path>
              </a:pathLst>
            </a:custGeom>
            <a:solidFill>
              <a:srgbClr val="595959">
                <a:alpha val="40000"/>
              </a:srgbClr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s-MX" dirty="0">
                <a:latin typeface="Century Gothic" panose="020B0502020202020204" pitchFamily="34" charset="0"/>
              </a:endParaRPr>
            </a:p>
          </p:txBody>
        </p:sp>
        <p:sp>
          <p:nvSpPr>
            <p:cNvPr id="5" name="Rectángulo 4">
              <a:extLst>
                <a:ext uri="{FF2B5EF4-FFF2-40B4-BE49-F238E27FC236}">
                  <a16:creationId xmlns:a16="http://schemas.microsoft.com/office/drawing/2014/main" id="{09CD9F7A-6D8D-8FBD-315D-EE115A353AB7}"/>
                </a:ext>
              </a:extLst>
            </p:cNvPr>
            <p:cNvSpPr/>
            <p:nvPr/>
          </p:nvSpPr>
          <p:spPr>
            <a:xfrm>
              <a:off x="3644609" y="3480286"/>
              <a:ext cx="8460000" cy="2220870"/>
            </a:xfrm>
            <a:prstGeom prst="rect">
              <a:avLst/>
            </a:prstGeom>
            <a:noFill/>
            <a:ln>
              <a:solidFill>
                <a:srgbClr val="FFC000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lIns="36000" tIns="0" rIns="0" bIns="0" rtlCol="0" anchor="t"/>
            <a:lstStyle/>
            <a:p>
              <a:pPr>
                <a:spcBef>
                  <a:spcPts val="200"/>
                </a:spcBef>
                <a:spcAft>
                  <a:spcPts val="200"/>
                </a:spcAft>
              </a:pPr>
              <a:endParaRPr lang="es-MX" sz="800" i="1" dirty="0">
                <a:solidFill>
                  <a:schemeClr val="tx1"/>
                </a:solidFill>
                <a:latin typeface="Century Gothic" panose="020B0502020202020204" pitchFamily="34" charset="0"/>
              </a:endParaRPr>
            </a:p>
          </p:txBody>
        </p:sp>
      </p:grpSp>
    </p:spTree>
    <p:extLst>
      <p:ext uri="{BB962C8B-B14F-4D97-AF65-F5344CB8AC3E}">
        <p14:creationId xmlns:p14="http://schemas.microsoft.com/office/powerpoint/2010/main" val="1463238368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GRUNT-HP-V3MAWN" val="QgcAAA==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Metropolitano">
  <a:themeElements>
    <a:clrScheme name="Metropolitano">
      <a:dk1>
        <a:sysClr val="windowText" lastClr="000000"/>
      </a:dk1>
      <a:lt1>
        <a:sysClr val="window" lastClr="FFFFFF"/>
      </a:lt1>
      <a:dk2>
        <a:srgbClr val="162F33"/>
      </a:dk2>
      <a:lt2>
        <a:srgbClr val="EAF0E0"/>
      </a:lt2>
      <a:accent1>
        <a:srgbClr val="50B4C8"/>
      </a:accent1>
      <a:accent2>
        <a:srgbClr val="A8B97F"/>
      </a:accent2>
      <a:accent3>
        <a:srgbClr val="9B9256"/>
      </a:accent3>
      <a:accent4>
        <a:srgbClr val="657689"/>
      </a:accent4>
      <a:accent5>
        <a:srgbClr val="7A855D"/>
      </a:accent5>
      <a:accent6>
        <a:srgbClr val="84AC9D"/>
      </a:accent6>
      <a:hlink>
        <a:srgbClr val="2370CD"/>
      </a:hlink>
      <a:folHlink>
        <a:srgbClr val="877589"/>
      </a:folHlink>
    </a:clrScheme>
    <a:fontScheme name="Metropolitano">
      <a:maj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 Light" panose="020F0302020204030204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inorFont>
    </a:fontScheme>
    <a:fmtScheme name="Metropolitano">
      <a:fillStyleLst>
        <a:solidFill>
          <a:schemeClr val="phClr"/>
        </a:solidFill>
        <a:gradFill rotWithShape="1">
          <a:gsLst>
            <a:gs pos="0">
              <a:schemeClr val="phClr">
                <a:tint val="70000"/>
                <a:satMod val="100000"/>
                <a:lumMod val="110000"/>
              </a:schemeClr>
            </a:gs>
            <a:gs pos="50000">
              <a:schemeClr val="phClr">
                <a:tint val="75000"/>
                <a:satMod val="101000"/>
                <a:lumMod val="105000"/>
              </a:schemeClr>
            </a:gs>
            <a:gs pos="100000">
              <a:schemeClr val="phClr">
                <a:tint val="82000"/>
                <a:satMod val="104000"/>
                <a:lumMod val="105000"/>
              </a:schemeClr>
            </a:gs>
          </a:gsLst>
          <a:lin ang="2700000" scaled="0"/>
        </a:gradFill>
        <a:gradFill rotWithShape="1">
          <a:gsLst>
            <a:gs pos="0">
              <a:schemeClr val="phClr">
                <a:tint val="97000"/>
                <a:satMod val="100000"/>
                <a:lumMod val="102000"/>
              </a:schemeClr>
            </a:gs>
            <a:gs pos="50000">
              <a:schemeClr val="phClr">
                <a:shade val="100000"/>
                <a:satMod val="100000"/>
                <a:lumMod val="100000"/>
              </a:schemeClr>
            </a:gs>
            <a:gs pos="100000">
              <a:schemeClr val="phClr">
                <a:shade val="80000"/>
                <a:satMod val="100000"/>
                <a:lumMod val="99000"/>
              </a:schemeClr>
            </a:gs>
          </a:gsLst>
          <a:lin ang="2700000" scaled="0"/>
        </a:gradFill>
      </a:fillStyleLst>
      <a:lnStyleLst>
        <a:ln w="9525" cap="flat" cmpd="sng" algn="ctr">
          <a:solidFill>
            <a:schemeClr val="phClr"/>
          </a:solidFill>
          <a:prstDash val="solid"/>
        </a:ln>
        <a:ln w="12700" cap="flat" cmpd="sng" algn="ctr">
          <a:solidFill>
            <a:schemeClr val="phClr"/>
          </a:solidFill>
          <a:prstDash val="solid"/>
        </a:ln>
        <a:ln w="19050" cap="flat" cmpd="sng" algn="ctr">
          <a:solidFill>
            <a:schemeClr val="phClr"/>
          </a:solidFill>
          <a:prstDash val="solid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solidFill>
          <a:schemeClr val="phClr">
            <a:shade val="95000"/>
            <a:satMod val="170000"/>
          </a:schemeClr>
        </a:soli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Metropolitan" id="{4C5440D6-04D2-4954-96CF-F251137069B2}" vid="{79CFCA13-9412-4290-BB4B-85112F88857B}"/>
    </a:ext>
  </a:extLst>
</a:theme>
</file>

<file path=ppt/theme/theme2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Tema d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4CA94B26055ADB4E8087E179A0ECD8F5" ma:contentTypeVersion="14" ma:contentTypeDescription="Create a new document." ma:contentTypeScope="" ma:versionID="ecbbeac3c68412bce531d4213c568ab0">
  <xsd:schema xmlns:xsd="http://www.w3.org/2001/XMLSchema" xmlns:xs="http://www.w3.org/2001/XMLSchema" xmlns:p="http://schemas.microsoft.com/office/2006/metadata/properties" xmlns:ns2="025a62b6-ef08-4bc1-92b9-f5e67be7ba91" xmlns:ns3="85dfbfcd-d6b5-4869-8220-1755e8fa1243" targetNamespace="http://schemas.microsoft.com/office/2006/metadata/properties" ma:root="true" ma:fieldsID="7a78038cca1fd7bd729c9584d2d02bec" ns2:_="" ns3:_="">
    <xsd:import namespace="025a62b6-ef08-4bc1-92b9-f5e67be7ba91"/>
    <xsd:import namespace="85dfbfcd-d6b5-4869-8220-1755e8fa1243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3:SharedWithUsers" minOccurs="0"/>
                <xsd:element ref="ns3:SharedWithDetails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2:MediaServiceDateTaken" minOccurs="0"/>
                <xsd:element ref="ns2:MediaLengthInSeconds" minOccurs="0"/>
                <xsd:element ref="ns2:lcf76f155ced4ddcb4097134ff3c332f" minOccurs="0"/>
                <xsd:element ref="ns3:TaxCatchAll" minOccurs="0"/>
                <xsd:element ref="ns2:MediaServiceLocation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25a62b6-ef08-4bc1-92b9-f5e67be7ba91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Tags" ma:index="12" nillable="true" ma:displayName="Tags" ma:internalName="MediaServiceAutoTags" ma:readOnly="true">
      <xsd:simpleType>
        <xsd:restriction base="dms:Text"/>
      </xsd:simpleType>
    </xsd:element>
    <xsd:element name="MediaServiceOCR" ma:index="13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4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5" nillable="true" ma:displayName="MediaServiceEventHashCode" ma:hidden="true" ma:internalName="MediaServiceEventHashCode" ma:readOnly="true">
      <xsd:simpleType>
        <xsd:restriction base="dms:Text"/>
      </xsd:simpleType>
    </xsd:element>
    <xsd:element name="MediaServiceDateTaken" ma:index="16" nillable="true" ma:displayName="MediaServiceDateTaken" ma:hidden="true" ma:internalName="MediaServiceDateTaken" ma:readOnly="true">
      <xsd:simpleType>
        <xsd:restriction base="dms:Text"/>
      </xsd:simpleType>
    </xsd:element>
    <xsd:element name="MediaLengthInSeconds" ma:index="17" nillable="true" ma:displayName="MediaLengthInSeconds" ma:hidden="true" ma:internalName="MediaLengthInSeconds" ma:readOnly="true">
      <xsd:simpleType>
        <xsd:restriction base="dms:Unknown"/>
      </xsd:simpleType>
    </xsd:element>
    <xsd:element name="lcf76f155ced4ddcb4097134ff3c332f" ma:index="19" nillable="true" ma:taxonomy="true" ma:internalName="lcf76f155ced4ddcb4097134ff3c332f" ma:taxonomyFieldName="MediaServiceImageTags" ma:displayName="Image Tags" ma:readOnly="false" ma:fieldId="{5cf76f15-5ced-4ddc-b409-7134ff3c332f}" ma:taxonomyMulti="true" ma:sspId="d85e823d-31db-440c-980d-283f89df7c2e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ServiceLocation" ma:index="21" nillable="true" ma:displayName="Location" ma:internalName="MediaServiceLocation" ma:readOnly="true">
      <xsd:simpleType>
        <xsd:restriction base="dms:Text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85dfbfcd-d6b5-4869-8220-1755e8fa1243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0" nillable="true" ma:displayName="Taxonomy Catch All Column" ma:hidden="true" ma:list="{a8906085-7a58-43ce-a5f1-768bd0f6300f}" ma:internalName="TaxCatchAll" ma:showField="CatchAllData" ma:web="85dfbfcd-d6b5-4869-8220-1755e8fa1243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025a62b6-ef08-4bc1-92b9-f5e67be7ba91">
      <Terms xmlns="http://schemas.microsoft.com/office/infopath/2007/PartnerControls"/>
    </lcf76f155ced4ddcb4097134ff3c332f>
    <TaxCatchAll xmlns="85dfbfcd-d6b5-4869-8220-1755e8fa1243" xsi:nil="true"/>
  </documentManagement>
</p:properties>
</file>

<file path=customXml/itemProps1.xml><?xml version="1.0" encoding="utf-8"?>
<ds:datastoreItem xmlns:ds="http://schemas.openxmlformats.org/officeDocument/2006/customXml" ds:itemID="{09D9B6F4-E038-428F-8EDD-60344F94EF8E}">
  <ds:schemaRefs>
    <ds:schemaRef ds:uri="http://schemas.microsoft.com/sharepoint/v3/contenttype/forms"/>
  </ds:schemaRefs>
</ds:datastoreItem>
</file>

<file path=customXml/itemProps2.xml><?xml version="1.0" encoding="utf-8"?>
<ds:datastoreItem xmlns:ds="http://schemas.openxmlformats.org/officeDocument/2006/customXml" ds:itemID="{6E57FCF6-692C-47B7-940D-23464C137B04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025a62b6-ef08-4bc1-92b9-f5e67be7ba91"/>
    <ds:schemaRef ds:uri="85dfbfcd-d6b5-4869-8220-1755e8fa1243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3.xml><?xml version="1.0" encoding="utf-8"?>
<ds:datastoreItem xmlns:ds="http://schemas.openxmlformats.org/officeDocument/2006/customXml" ds:itemID="{DD09F111-EF3A-483D-B27B-0964ED71541F}">
  <ds:schemaRefs>
    <ds:schemaRef ds:uri="http://schemas.microsoft.com/office/2006/metadata/properties"/>
    <ds:schemaRef ds:uri="http://schemas.microsoft.com/office/infopath/2007/PartnerControls"/>
    <ds:schemaRef ds:uri="025a62b6-ef08-4bc1-92b9-f5e67be7ba91"/>
    <ds:schemaRef ds:uri="85dfbfcd-d6b5-4869-8220-1755e8fa1243"/>
  </ds:schemaRefs>
</ds:datastoreItem>
</file>

<file path=docMetadata/LabelInfo.xml><?xml version="1.0" encoding="utf-8"?>
<clbl:labelList xmlns:clbl="http://schemas.microsoft.com/office/2020/mipLabelMetadata">
  <clbl:label id="{3048dc87-43f0-4100-9acb-ae1971c79395}" enabled="0" method="" siteId="{3048dc87-43f0-4100-9acb-ae1971c79395}" removed="1"/>
</clbl:labelList>
</file>

<file path=docProps/app.xml><?xml version="1.0" encoding="utf-8"?>
<Properties xmlns="http://schemas.openxmlformats.org/officeDocument/2006/extended-properties" xmlns:vt="http://schemas.openxmlformats.org/officeDocument/2006/docPropsVTypes">
  <Template>Metropolitano</Template>
  <TotalTime>11519</TotalTime>
  <Words>295</Words>
  <Application>Microsoft Office PowerPoint</Application>
  <PresentationFormat>Panorámica</PresentationFormat>
  <Paragraphs>64</Paragraphs>
  <Slides>2</Slides>
  <Notes>0</Notes>
  <HiddenSlides>0</HiddenSlides>
  <MMClips>0</MMClips>
  <ScaleCrop>false</ScaleCrop>
  <HeadingPairs>
    <vt:vector size="8" baseType="variant">
      <vt:variant>
        <vt:lpstr>Fuentes usadas</vt:lpstr>
      </vt:variant>
      <vt:variant>
        <vt:i4>4</vt:i4>
      </vt:variant>
      <vt:variant>
        <vt:lpstr>Tema</vt:lpstr>
      </vt:variant>
      <vt:variant>
        <vt:i4>1</vt:i4>
      </vt:variant>
      <vt:variant>
        <vt:lpstr>Servidores OLE incrustados</vt:lpstr>
      </vt:variant>
      <vt:variant>
        <vt:i4>1</vt:i4>
      </vt:variant>
      <vt:variant>
        <vt:lpstr>Títulos de diapositiva</vt:lpstr>
      </vt:variant>
      <vt:variant>
        <vt:i4>2</vt:i4>
      </vt:variant>
    </vt:vector>
  </HeadingPairs>
  <TitlesOfParts>
    <vt:vector size="8" baseType="lpstr">
      <vt:lpstr>Arial</vt:lpstr>
      <vt:lpstr>Calibri</vt:lpstr>
      <vt:lpstr>Calibri Light</vt:lpstr>
      <vt:lpstr>Century Gothic</vt:lpstr>
      <vt:lpstr>Metropolitano</vt:lpstr>
      <vt:lpstr>Diapositiva de think-cell</vt:lpstr>
      <vt:lpstr>Presentación de PowerPoint</vt:lpstr>
      <vt:lpstr>5 P’s</vt:lpstr>
    </vt:vector>
  </TitlesOfParts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esentación de PowerPoint</dc:title>
  <dc:creator>Maria Del Carmen Procuna Garcia</dc:creator>
  <cp:lastModifiedBy>andres rendo sanchez</cp:lastModifiedBy>
  <cp:revision>155</cp:revision>
  <cp:lastPrinted>2022-06-13T22:40:37Z</cp:lastPrinted>
  <dcterms:created xsi:type="dcterms:W3CDTF">2021-10-20T00:55:43Z</dcterms:created>
  <dcterms:modified xsi:type="dcterms:W3CDTF">2024-01-29T23:18:07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4CA94B26055ADB4E8087E179A0ECD8F5</vt:lpwstr>
  </property>
  <property fmtid="{D5CDD505-2E9C-101B-9397-08002B2CF9AE}" pid="3" name="MediaServiceImageTags">
    <vt:lpwstr/>
  </property>
</Properties>
</file>